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706" r:id="rId4"/>
    <p:sldMasterId id="2147483777" r:id="rId5"/>
  </p:sldMasterIdLst>
  <p:notesMasterIdLst>
    <p:notesMasterId r:id="rId31"/>
  </p:notesMasterIdLst>
  <p:handoutMasterIdLst>
    <p:handoutMasterId r:id="rId32"/>
  </p:handoutMasterIdLst>
  <p:sldIdLst>
    <p:sldId id="716" r:id="rId6"/>
    <p:sldId id="908" r:id="rId7"/>
    <p:sldId id="2147196721" r:id="rId8"/>
    <p:sldId id="714" r:id="rId9"/>
    <p:sldId id="13916" r:id="rId10"/>
    <p:sldId id="2147196742" r:id="rId11"/>
    <p:sldId id="13788" r:id="rId12"/>
    <p:sldId id="2147195954" r:id="rId13"/>
    <p:sldId id="13680" r:id="rId14"/>
    <p:sldId id="893" r:id="rId15"/>
    <p:sldId id="2147195983" r:id="rId16"/>
    <p:sldId id="678" r:id="rId17"/>
    <p:sldId id="2147196743" r:id="rId18"/>
    <p:sldId id="2147196732" r:id="rId19"/>
    <p:sldId id="2147196739" r:id="rId20"/>
    <p:sldId id="13722" r:id="rId21"/>
    <p:sldId id="2147196738" r:id="rId22"/>
    <p:sldId id="2147196745" r:id="rId23"/>
    <p:sldId id="13710" r:id="rId24"/>
    <p:sldId id="2147196733" r:id="rId25"/>
    <p:sldId id="899" r:id="rId26"/>
    <p:sldId id="657" r:id="rId27"/>
    <p:sldId id="2147196746" r:id="rId28"/>
    <p:sldId id="13822" r:id="rId29"/>
    <p:sldId id="739" r:id="rId30"/>
  </p:sldIdLst>
  <p:sldSz cx="9144000" cy="5143500" type="screen16x9"/>
  <p:notesSz cx="6669088" cy="9926638"/>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3F9E83C-C2AF-4732-8733-DC40B3D2CCAD}">
          <p14:sldIdLst>
            <p14:sldId id="716"/>
            <p14:sldId id="908"/>
            <p14:sldId id="2147196721"/>
            <p14:sldId id="714"/>
            <p14:sldId id="13916"/>
            <p14:sldId id="2147196742"/>
            <p14:sldId id="13788"/>
            <p14:sldId id="2147195954"/>
            <p14:sldId id="13680"/>
            <p14:sldId id="893"/>
            <p14:sldId id="2147195983"/>
            <p14:sldId id="678"/>
            <p14:sldId id="2147196743"/>
            <p14:sldId id="2147196732"/>
            <p14:sldId id="2147196739"/>
            <p14:sldId id="13722"/>
            <p14:sldId id="2147196738"/>
            <p14:sldId id="2147196745"/>
            <p14:sldId id="13710"/>
            <p14:sldId id="2147196733"/>
            <p14:sldId id="899"/>
            <p14:sldId id="657"/>
            <p14:sldId id="2147196746"/>
            <p14:sldId id="13822"/>
            <p14:sldId id="739"/>
          </p14:sldIdLst>
        </p14:section>
        <p14:section name="Untitled Section" id="{93132D38-50A9-4569-BF23-B2E1FDFF2F6D}">
          <p14:sldIdLst/>
        </p14:section>
      </p14:sectionLst>
    </p:ext>
    <p:ext uri="{EFAFB233-063F-42B5-8137-9DF3F51BA10A}">
      <p15:sldGuideLst xmlns:p15="http://schemas.microsoft.com/office/powerpoint/2012/main">
        <p15:guide id="1" orient="horz" pos="2799">
          <p15:clr>
            <a:srgbClr val="A4A3A4"/>
          </p15:clr>
        </p15:guide>
        <p15:guide id="2" orient="horz" pos="713" userDrawn="1">
          <p15:clr>
            <a:srgbClr val="A4A3A4"/>
          </p15:clr>
        </p15:guide>
        <p15:guide id="3" orient="horz" pos="1983" userDrawn="1">
          <p15:clr>
            <a:srgbClr val="A4A3A4"/>
          </p15:clr>
        </p15:guide>
        <p15:guide id="4" pos="3016">
          <p15:clr>
            <a:srgbClr val="A4A3A4"/>
          </p15:clr>
        </p15:guide>
        <p15:guide id="5" pos="431" userDrawn="1">
          <p15:clr>
            <a:srgbClr val="A4A3A4"/>
          </p15:clr>
        </p15:guide>
        <p15:guide id="6" pos="5511">
          <p15:clr>
            <a:srgbClr val="A4A3A4"/>
          </p15:clr>
        </p15:guide>
      </p15:sldGuideLst>
    </p:ext>
    <p:ext uri="{2D200454-40CA-4A62-9FC3-DE9A4176ACB9}">
      <p15:notesGuideLst xmlns:p15="http://schemas.microsoft.com/office/powerpoint/2012/main">
        <p15:guide id="1" orient="horz" pos="3127">
          <p15:clr>
            <a:srgbClr val="A4A3A4"/>
          </p15:clr>
        </p15:guide>
        <p15:guide id="2"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118C252-F1D0-4679-B785-2FFEB408AB03}" v="2" dt="2023-05-26T17:30:43.897"/>
    <p1510:client id="{D7A2C55B-8F7A-4EEA-ACF9-1F7E20697CD8}" v="4" dt="2023-06-13T14:50:57.791"/>
  </p1510:revLst>
</p1510:revInfo>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emastil 2 - aks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3296810-A885-4BE3-A3E7-6D5BEEA58F35}" styleName="Middels stil 2 - aks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Ingen stil, tabellrutenett">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C2FFA5D-87B4-456A-9821-1D502468CF0F}" styleName="Temastil 1 - aks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64" autoAdjust="0"/>
    <p:restoredTop sz="57872" autoAdjust="0"/>
  </p:normalViewPr>
  <p:slideViewPr>
    <p:cSldViewPr>
      <p:cViewPr>
        <p:scale>
          <a:sx n="86" d="100"/>
          <a:sy n="86" d="100"/>
        </p:scale>
        <p:origin x="900" y="-104"/>
      </p:cViewPr>
      <p:guideLst>
        <p:guide orient="horz" pos="2799"/>
        <p:guide orient="horz" pos="713"/>
        <p:guide orient="horz" pos="1983"/>
        <p:guide pos="3016"/>
        <p:guide pos="431"/>
        <p:guide pos="5511"/>
      </p:guideLst>
    </p:cSldViewPr>
  </p:slideViewPr>
  <p:outlineViewPr>
    <p:cViewPr>
      <p:scale>
        <a:sx n="33" d="100"/>
        <a:sy n="33" d="100"/>
      </p:scale>
      <p:origin x="36" y="12678"/>
    </p:cViewPr>
  </p:outlineViewPr>
  <p:notesTextViewPr>
    <p:cViewPr>
      <p:scale>
        <a:sx n="3" d="2"/>
        <a:sy n="3" d="2"/>
      </p:scale>
      <p:origin x="0" y="0"/>
    </p:cViewPr>
  </p:notesTextViewPr>
  <p:sorterViewPr>
    <p:cViewPr varScale="1">
      <p:scale>
        <a:sx n="100" d="100"/>
        <a:sy n="100" d="100"/>
      </p:scale>
      <p:origin x="0" y="0"/>
    </p:cViewPr>
  </p:sorterViewPr>
  <p:notesViewPr>
    <p:cSldViewPr>
      <p:cViewPr varScale="1">
        <p:scale>
          <a:sx n="108" d="100"/>
          <a:sy n="108" d="100"/>
        </p:scale>
        <p:origin x="7938" y="102"/>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liveuis-my.sharepoint.com/personal/2900575_uis_no/Documents/Prosjekt/Laks/2021-12-22%20Produksjonskostnader%201986-2020.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589502407405684E-3"/>
          <c:y val="4.6939228974558385E-2"/>
          <c:w val="0.80329876178759607"/>
          <c:h val="0.92638963182383882"/>
        </c:manualLayout>
      </c:layout>
      <c:lineChart>
        <c:grouping val="standard"/>
        <c:varyColors val="0"/>
        <c:ser>
          <c:idx val="0"/>
          <c:order val="0"/>
          <c:tx>
            <c:strRef>
              <c:f>Alle_biology!$A$134</c:f>
              <c:strCache>
                <c:ptCount val="1"/>
                <c:pt idx="0">
                  <c:v>Smolt</c:v>
                </c:pt>
              </c:strCache>
            </c:strRef>
          </c:tx>
          <c:spPr>
            <a:ln w="34925" cap="rnd">
              <a:solidFill>
                <a:schemeClr val="accent1"/>
              </a:solidFill>
              <a:round/>
            </a:ln>
            <a:effectLst>
              <a:outerShdw blurRad="88900" dist="38100" dir="5040000" rotWithShape="0">
                <a:srgbClr val="000000">
                  <a:alpha val="60000"/>
                </a:srgbClr>
              </a:outerShdw>
            </a:effectLst>
          </c:spPr>
          <c:marker>
            <c:symbol val="none"/>
          </c:marker>
          <c:cat>
            <c:numRef>
              <c:f>Alle_biology!$C$2:$R$2</c:f>
              <c:numCache>
                <c:formatCode>0</c:formatCode>
                <c:ptCount val="16"/>
                <c:pt idx="0" formatCode="General">
                  <c:v>2020</c:v>
                </c:pt>
                <c:pt idx="1">
                  <c:v>2019</c:v>
                </c:pt>
                <c:pt idx="2">
                  <c:v>2018</c:v>
                </c:pt>
                <c:pt idx="3">
                  <c:v>2017</c:v>
                </c:pt>
                <c:pt idx="4">
                  <c:v>2016</c:v>
                </c:pt>
                <c:pt idx="5">
                  <c:v>2015</c:v>
                </c:pt>
                <c:pt idx="6">
                  <c:v>2014</c:v>
                </c:pt>
                <c:pt idx="7">
                  <c:v>2013</c:v>
                </c:pt>
                <c:pt idx="8">
                  <c:v>2012</c:v>
                </c:pt>
                <c:pt idx="9">
                  <c:v>2011</c:v>
                </c:pt>
                <c:pt idx="10">
                  <c:v>2010</c:v>
                </c:pt>
                <c:pt idx="11">
                  <c:v>2009</c:v>
                </c:pt>
                <c:pt idx="12">
                  <c:v>2008</c:v>
                </c:pt>
                <c:pt idx="13">
                  <c:v>2007</c:v>
                </c:pt>
                <c:pt idx="14">
                  <c:v>2006</c:v>
                </c:pt>
                <c:pt idx="15">
                  <c:v>2005</c:v>
                </c:pt>
              </c:numCache>
            </c:numRef>
          </c:cat>
          <c:val>
            <c:numRef>
              <c:f>Alle_biology!$C$134:$R$134</c:f>
              <c:numCache>
                <c:formatCode>#,##0.00</c:formatCode>
                <c:ptCount val="16"/>
                <c:pt idx="0">
                  <c:v>1.0032528180535252</c:v>
                </c:pt>
                <c:pt idx="1">
                  <c:v>0.97727321214032514</c:v>
                </c:pt>
                <c:pt idx="2">
                  <c:v>0.72557715454515925</c:v>
                </c:pt>
                <c:pt idx="3">
                  <c:v>0.65606804844100974</c:v>
                </c:pt>
                <c:pt idx="4">
                  <c:v>0.6562999279192252</c:v>
                </c:pt>
                <c:pt idx="5">
                  <c:v>0.38936235015859877</c:v>
                </c:pt>
                <c:pt idx="6">
                  <c:v>0.28429576420117408</c:v>
                </c:pt>
                <c:pt idx="7">
                  <c:v>-9.4025653364844253E-3</c:v>
                </c:pt>
                <c:pt idx="8">
                  <c:v>6.8983478885786154E-2</c:v>
                </c:pt>
                <c:pt idx="9">
                  <c:v>0.13488480389702628</c:v>
                </c:pt>
                <c:pt idx="10">
                  <c:v>0.14979710905600996</c:v>
                </c:pt>
                <c:pt idx="11">
                  <c:v>-0.12185955686161387</c:v>
                </c:pt>
                <c:pt idx="12">
                  <c:v>6.5169368958005069E-2</c:v>
                </c:pt>
                <c:pt idx="13">
                  <c:v>0.2586598274618126</c:v>
                </c:pt>
                <c:pt idx="14">
                  <c:v>-0.26149374429232419</c:v>
                </c:pt>
                <c:pt idx="15">
                  <c:v>0</c:v>
                </c:pt>
              </c:numCache>
            </c:numRef>
          </c:val>
          <c:smooth val="0"/>
          <c:extLst>
            <c:ext xmlns:c16="http://schemas.microsoft.com/office/drawing/2014/chart" uri="{C3380CC4-5D6E-409C-BE32-E72D297353CC}">
              <c16:uniqueId val="{00000000-41A3-42B5-BA71-FCBCDB5C19D0}"/>
            </c:ext>
          </c:extLst>
        </c:ser>
        <c:ser>
          <c:idx val="1"/>
          <c:order val="1"/>
          <c:tx>
            <c:strRef>
              <c:f>Alle_biology!$A$135</c:f>
              <c:strCache>
                <c:ptCount val="1"/>
                <c:pt idx="0">
                  <c:v>Feed</c:v>
                </c:pt>
              </c:strCache>
            </c:strRef>
          </c:tx>
          <c:spPr>
            <a:ln w="34925" cap="rnd">
              <a:solidFill>
                <a:schemeClr val="accent2"/>
              </a:solidFill>
              <a:round/>
            </a:ln>
            <a:effectLst>
              <a:outerShdw blurRad="88900" dist="38100" dir="5040000" rotWithShape="0">
                <a:srgbClr val="000000">
                  <a:alpha val="60000"/>
                </a:srgbClr>
              </a:outerShdw>
            </a:effectLst>
          </c:spPr>
          <c:marker>
            <c:symbol val="none"/>
          </c:marker>
          <c:cat>
            <c:numRef>
              <c:f>Alle_biology!$C$2:$R$2</c:f>
              <c:numCache>
                <c:formatCode>0</c:formatCode>
                <c:ptCount val="16"/>
                <c:pt idx="0" formatCode="General">
                  <c:v>2020</c:v>
                </c:pt>
                <c:pt idx="1">
                  <c:v>2019</c:v>
                </c:pt>
                <c:pt idx="2">
                  <c:v>2018</c:v>
                </c:pt>
                <c:pt idx="3">
                  <c:v>2017</c:v>
                </c:pt>
                <c:pt idx="4">
                  <c:v>2016</c:v>
                </c:pt>
                <c:pt idx="5">
                  <c:v>2015</c:v>
                </c:pt>
                <c:pt idx="6">
                  <c:v>2014</c:v>
                </c:pt>
                <c:pt idx="7">
                  <c:v>2013</c:v>
                </c:pt>
                <c:pt idx="8">
                  <c:v>2012</c:v>
                </c:pt>
                <c:pt idx="9">
                  <c:v>2011</c:v>
                </c:pt>
                <c:pt idx="10">
                  <c:v>2010</c:v>
                </c:pt>
                <c:pt idx="11">
                  <c:v>2009</c:v>
                </c:pt>
                <c:pt idx="12">
                  <c:v>2008</c:v>
                </c:pt>
                <c:pt idx="13">
                  <c:v>2007</c:v>
                </c:pt>
                <c:pt idx="14">
                  <c:v>2006</c:v>
                </c:pt>
                <c:pt idx="15">
                  <c:v>2005</c:v>
                </c:pt>
              </c:numCache>
            </c:numRef>
          </c:cat>
          <c:val>
            <c:numRef>
              <c:f>Alle_biology!$C$135:$R$135</c:f>
              <c:numCache>
                <c:formatCode>#,##0.00</c:formatCode>
                <c:ptCount val="16"/>
                <c:pt idx="0">
                  <c:v>4.0092534570178904</c:v>
                </c:pt>
                <c:pt idx="1">
                  <c:v>3.3174259544742997</c:v>
                </c:pt>
                <c:pt idx="2">
                  <c:v>3.1422097443112227</c:v>
                </c:pt>
                <c:pt idx="3">
                  <c:v>3.089094214959462</c:v>
                </c:pt>
                <c:pt idx="4">
                  <c:v>4.0620840215991896</c:v>
                </c:pt>
                <c:pt idx="5">
                  <c:v>3.4447055989073627</c:v>
                </c:pt>
                <c:pt idx="6">
                  <c:v>2.6263828019965745</c:v>
                </c:pt>
                <c:pt idx="7">
                  <c:v>2.3002405693670083</c:v>
                </c:pt>
                <c:pt idx="8">
                  <c:v>2.2454473633330485</c:v>
                </c:pt>
                <c:pt idx="9">
                  <c:v>2.2133342910767242</c:v>
                </c:pt>
                <c:pt idx="10">
                  <c:v>1.5533470883948324</c:v>
                </c:pt>
                <c:pt idx="11">
                  <c:v>1.3889422883419433</c:v>
                </c:pt>
                <c:pt idx="12">
                  <c:v>1.5291233393575263</c:v>
                </c:pt>
                <c:pt idx="13">
                  <c:v>1.5661218297888349</c:v>
                </c:pt>
                <c:pt idx="14">
                  <c:v>1.0160746648823045</c:v>
                </c:pt>
                <c:pt idx="15">
                  <c:v>0</c:v>
                </c:pt>
              </c:numCache>
            </c:numRef>
          </c:val>
          <c:smooth val="0"/>
          <c:extLst>
            <c:ext xmlns:c16="http://schemas.microsoft.com/office/drawing/2014/chart" uri="{C3380CC4-5D6E-409C-BE32-E72D297353CC}">
              <c16:uniqueId val="{00000001-41A3-42B5-BA71-FCBCDB5C19D0}"/>
            </c:ext>
          </c:extLst>
        </c:ser>
        <c:ser>
          <c:idx val="2"/>
          <c:order val="2"/>
          <c:tx>
            <c:strRef>
              <c:f>Alle_biology!$A$136</c:f>
              <c:strCache>
                <c:ptCount val="1"/>
                <c:pt idx="0">
                  <c:v>Labour</c:v>
                </c:pt>
              </c:strCache>
            </c:strRef>
          </c:tx>
          <c:spPr>
            <a:ln w="34925" cap="rnd">
              <a:solidFill>
                <a:schemeClr val="accent3"/>
              </a:solidFill>
              <a:round/>
            </a:ln>
            <a:effectLst>
              <a:outerShdw blurRad="88900" dist="38100" dir="5040000" rotWithShape="0">
                <a:srgbClr val="000000">
                  <a:alpha val="60000"/>
                </a:srgbClr>
              </a:outerShdw>
            </a:effectLst>
          </c:spPr>
          <c:marker>
            <c:symbol val="none"/>
          </c:marker>
          <c:cat>
            <c:numRef>
              <c:f>Alle_biology!$C$2:$R$2</c:f>
              <c:numCache>
                <c:formatCode>0</c:formatCode>
                <c:ptCount val="16"/>
                <c:pt idx="0" formatCode="General">
                  <c:v>2020</c:v>
                </c:pt>
                <c:pt idx="1">
                  <c:v>2019</c:v>
                </c:pt>
                <c:pt idx="2">
                  <c:v>2018</c:v>
                </c:pt>
                <c:pt idx="3">
                  <c:v>2017</c:v>
                </c:pt>
                <c:pt idx="4">
                  <c:v>2016</c:v>
                </c:pt>
                <c:pt idx="5">
                  <c:v>2015</c:v>
                </c:pt>
                <c:pt idx="6">
                  <c:v>2014</c:v>
                </c:pt>
                <c:pt idx="7">
                  <c:v>2013</c:v>
                </c:pt>
                <c:pt idx="8">
                  <c:v>2012</c:v>
                </c:pt>
                <c:pt idx="9">
                  <c:v>2011</c:v>
                </c:pt>
                <c:pt idx="10">
                  <c:v>2010</c:v>
                </c:pt>
                <c:pt idx="11">
                  <c:v>2009</c:v>
                </c:pt>
                <c:pt idx="12">
                  <c:v>2008</c:v>
                </c:pt>
                <c:pt idx="13">
                  <c:v>2007</c:v>
                </c:pt>
                <c:pt idx="14">
                  <c:v>2006</c:v>
                </c:pt>
                <c:pt idx="15">
                  <c:v>2005</c:v>
                </c:pt>
              </c:numCache>
            </c:numRef>
          </c:cat>
          <c:val>
            <c:numRef>
              <c:f>Alle_biology!$C$136:$R$136</c:f>
              <c:numCache>
                <c:formatCode>#,##0.00</c:formatCode>
                <c:ptCount val="16"/>
                <c:pt idx="0">
                  <c:v>0.84535559804452531</c:v>
                </c:pt>
                <c:pt idx="1">
                  <c:v>0.82084487975704623</c:v>
                </c:pt>
                <c:pt idx="2">
                  <c:v>0.71772391584729589</c:v>
                </c:pt>
                <c:pt idx="3">
                  <c:v>0.62017741645406077</c:v>
                </c:pt>
                <c:pt idx="4">
                  <c:v>0.41489381909731593</c:v>
                </c:pt>
                <c:pt idx="5">
                  <c:v>0.32539735418637372</c:v>
                </c:pt>
                <c:pt idx="6">
                  <c:v>0.25204674302700347</c:v>
                </c:pt>
                <c:pt idx="7">
                  <c:v>0.13932204935921355</c:v>
                </c:pt>
                <c:pt idx="8">
                  <c:v>-5.4664127398331708E-3</c:v>
                </c:pt>
                <c:pt idx="9">
                  <c:v>2.2396652490370039E-2</c:v>
                </c:pt>
                <c:pt idx="10">
                  <c:v>1.1818026944609983E-5</c:v>
                </c:pt>
                <c:pt idx="11">
                  <c:v>-0.23602810039671995</c:v>
                </c:pt>
                <c:pt idx="12">
                  <c:v>-7.4390447668672754E-2</c:v>
                </c:pt>
                <c:pt idx="13">
                  <c:v>-5.1797570244036528E-3</c:v>
                </c:pt>
                <c:pt idx="14">
                  <c:v>7.1113249997547978E-2</c:v>
                </c:pt>
                <c:pt idx="15">
                  <c:v>0</c:v>
                </c:pt>
              </c:numCache>
            </c:numRef>
          </c:val>
          <c:smooth val="0"/>
          <c:extLst>
            <c:ext xmlns:c16="http://schemas.microsoft.com/office/drawing/2014/chart" uri="{C3380CC4-5D6E-409C-BE32-E72D297353CC}">
              <c16:uniqueId val="{00000002-41A3-42B5-BA71-FCBCDB5C19D0}"/>
            </c:ext>
          </c:extLst>
        </c:ser>
        <c:ser>
          <c:idx val="3"/>
          <c:order val="3"/>
          <c:tx>
            <c:strRef>
              <c:f>Alle_biology!$A$137</c:f>
              <c:strCache>
                <c:ptCount val="1"/>
                <c:pt idx="0">
                  <c:v>Capital</c:v>
                </c:pt>
              </c:strCache>
            </c:strRef>
          </c:tx>
          <c:spPr>
            <a:ln w="34925" cap="rnd">
              <a:solidFill>
                <a:schemeClr val="accent4"/>
              </a:solidFill>
              <a:round/>
            </a:ln>
            <a:effectLst>
              <a:outerShdw blurRad="88900" dist="38100" dir="5040000" rotWithShape="0">
                <a:srgbClr val="000000">
                  <a:alpha val="60000"/>
                </a:srgbClr>
              </a:outerShdw>
            </a:effectLst>
          </c:spPr>
          <c:marker>
            <c:symbol val="none"/>
          </c:marker>
          <c:cat>
            <c:numRef>
              <c:f>Alle_biology!$C$2:$R$2</c:f>
              <c:numCache>
                <c:formatCode>0</c:formatCode>
                <c:ptCount val="16"/>
                <c:pt idx="0" formatCode="General">
                  <c:v>2020</c:v>
                </c:pt>
                <c:pt idx="1">
                  <c:v>2019</c:v>
                </c:pt>
                <c:pt idx="2">
                  <c:v>2018</c:v>
                </c:pt>
                <c:pt idx="3">
                  <c:v>2017</c:v>
                </c:pt>
                <c:pt idx="4">
                  <c:v>2016</c:v>
                </c:pt>
                <c:pt idx="5">
                  <c:v>2015</c:v>
                </c:pt>
                <c:pt idx="6">
                  <c:v>2014</c:v>
                </c:pt>
                <c:pt idx="7">
                  <c:v>2013</c:v>
                </c:pt>
                <c:pt idx="8">
                  <c:v>2012</c:v>
                </c:pt>
                <c:pt idx="9">
                  <c:v>2011</c:v>
                </c:pt>
                <c:pt idx="10">
                  <c:v>2010</c:v>
                </c:pt>
                <c:pt idx="11">
                  <c:v>2009</c:v>
                </c:pt>
                <c:pt idx="12">
                  <c:v>2008</c:v>
                </c:pt>
                <c:pt idx="13">
                  <c:v>2007</c:v>
                </c:pt>
                <c:pt idx="14">
                  <c:v>2006</c:v>
                </c:pt>
                <c:pt idx="15">
                  <c:v>2005</c:v>
                </c:pt>
              </c:numCache>
            </c:numRef>
          </c:cat>
          <c:val>
            <c:numRef>
              <c:f>Alle_biology!$C$137:$R$137</c:f>
              <c:numCache>
                <c:formatCode>#,##0.00</c:formatCode>
                <c:ptCount val="16"/>
                <c:pt idx="0">
                  <c:v>4.5373314928012416</c:v>
                </c:pt>
                <c:pt idx="1">
                  <c:v>2.8908752994285396</c:v>
                </c:pt>
                <c:pt idx="2">
                  <c:v>2.8044115578966662</c:v>
                </c:pt>
                <c:pt idx="3">
                  <c:v>2.5231801090110477</c:v>
                </c:pt>
                <c:pt idx="4">
                  <c:v>2.3540489638729878</c:v>
                </c:pt>
                <c:pt idx="5">
                  <c:v>1.6920407665662514</c:v>
                </c:pt>
                <c:pt idx="6">
                  <c:v>1.7389332654845258</c:v>
                </c:pt>
                <c:pt idx="7">
                  <c:v>1.4614661031220035</c:v>
                </c:pt>
                <c:pt idx="8">
                  <c:v>1.0517125174246407</c:v>
                </c:pt>
                <c:pt idx="9">
                  <c:v>1.0099463941307776</c:v>
                </c:pt>
                <c:pt idx="10">
                  <c:v>1.2333134168214124</c:v>
                </c:pt>
                <c:pt idx="11">
                  <c:v>0.61486827820832968</c:v>
                </c:pt>
                <c:pt idx="12">
                  <c:v>0.79110325499281853</c:v>
                </c:pt>
                <c:pt idx="13">
                  <c:v>4.59418878638016E-2</c:v>
                </c:pt>
                <c:pt idx="14">
                  <c:v>-3.1923316977833238E-4</c:v>
                </c:pt>
                <c:pt idx="15">
                  <c:v>0</c:v>
                </c:pt>
              </c:numCache>
            </c:numRef>
          </c:val>
          <c:smooth val="0"/>
          <c:extLst>
            <c:ext xmlns:c16="http://schemas.microsoft.com/office/drawing/2014/chart" uri="{C3380CC4-5D6E-409C-BE32-E72D297353CC}">
              <c16:uniqueId val="{00000003-41A3-42B5-BA71-FCBCDB5C19D0}"/>
            </c:ext>
          </c:extLst>
        </c:ser>
        <c:ser>
          <c:idx val="4"/>
          <c:order val="4"/>
          <c:tx>
            <c:strRef>
              <c:f>Alle_biology!$A$138</c:f>
              <c:strCache>
                <c:ptCount val="1"/>
                <c:pt idx="0">
                  <c:v>Harvest</c:v>
                </c:pt>
              </c:strCache>
            </c:strRef>
          </c:tx>
          <c:spPr>
            <a:ln w="34925" cap="rnd">
              <a:solidFill>
                <a:schemeClr val="accent5"/>
              </a:solidFill>
              <a:round/>
            </a:ln>
            <a:effectLst>
              <a:outerShdw blurRad="88900" dist="38100" dir="5040000" rotWithShape="0">
                <a:srgbClr val="000000">
                  <a:alpha val="60000"/>
                </a:srgbClr>
              </a:outerShdw>
            </a:effectLst>
          </c:spPr>
          <c:marker>
            <c:symbol val="none"/>
          </c:marker>
          <c:cat>
            <c:numRef>
              <c:f>Alle_biology!$C$2:$R$2</c:f>
              <c:numCache>
                <c:formatCode>0</c:formatCode>
                <c:ptCount val="16"/>
                <c:pt idx="0" formatCode="General">
                  <c:v>2020</c:v>
                </c:pt>
                <c:pt idx="1">
                  <c:v>2019</c:v>
                </c:pt>
                <c:pt idx="2">
                  <c:v>2018</c:v>
                </c:pt>
                <c:pt idx="3">
                  <c:v>2017</c:v>
                </c:pt>
                <c:pt idx="4">
                  <c:v>2016</c:v>
                </c:pt>
                <c:pt idx="5">
                  <c:v>2015</c:v>
                </c:pt>
                <c:pt idx="6">
                  <c:v>2014</c:v>
                </c:pt>
                <c:pt idx="7">
                  <c:v>2013</c:v>
                </c:pt>
                <c:pt idx="8">
                  <c:v>2012</c:v>
                </c:pt>
                <c:pt idx="9">
                  <c:v>2011</c:v>
                </c:pt>
                <c:pt idx="10">
                  <c:v>2010</c:v>
                </c:pt>
                <c:pt idx="11">
                  <c:v>2009</c:v>
                </c:pt>
                <c:pt idx="12">
                  <c:v>2008</c:v>
                </c:pt>
                <c:pt idx="13">
                  <c:v>2007</c:v>
                </c:pt>
                <c:pt idx="14">
                  <c:v>2006</c:v>
                </c:pt>
                <c:pt idx="15">
                  <c:v>2005</c:v>
                </c:pt>
              </c:numCache>
            </c:numRef>
          </c:cat>
          <c:val>
            <c:numRef>
              <c:f>Alle_biology!$C$138:$R$138</c:f>
              <c:numCache>
                <c:formatCode>#,##0.00</c:formatCode>
                <c:ptCount val="16"/>
                <c:pt idx="0">
                  <c:v>0.91466478954561925</c:v>
                </c:pt>
                <c:pt idx="1">
                  <c:v>0.5846806351038385</c:v>
                </c:pt>
                <c:pt idx="2">
                  <c:v>0.77253755600815133</c:v>
                </c:pt>
                <c:pt idx="3">
                  <c:v>3.7543548471388632E-2</c:v>
                </c:pt>
                <c:pt idx="4">
                  <c:v>0.31536888453100698</c:v>
                </c:pt>
                <c:pt idx="5">
                  <c:v>6.1348496789976892E-2</c:v>
                </c:pt>
                <c:pt idx="6">
                  <c:v>-0.51116975605780768</c:v>
                </c:pt>
                <c:pt idx="7">
                  <c:v>-0.19787218637800175</c:v>
                </c:pt>
                <c:pt idx="8">
                  <c:v>-7.7576905382655159E-2</c:v>
                </c:pt>
                <c:pt idx="9">
                  <c:v>-0.25683156692798725</c:v>
                </c:pt>
                <c:pt idx="10">
                  <c:v>0.23375935458548369</c:v>
                </c:pt>
                <c:pt idx="11">
                  <c:v>-0.32758230767155005</c:v>
                </c:pt>
                <c:pt idx="12">
                  <c:v>-0.27089458332918737</c:v>
                </c:pt>
                <c:pt idx="13">
                  <c:v>-0.32452089318889188</c:v>
                </c:pt>
                <c:pt idx="14">
                  <c:v>-0.55047100141200467</c:v>
                </c:pt>
                <c:pt idx="15">
                  <c:v>0</c:v>
                </c:pt>
              </c:numCache>
            </c:numRef>
          </c:val>
          <c:smooth val="0"/>
          <c:extLst>
            <c:ext xmlns:c16="http://schemas.microsoft.com/office/drawing/2014/chart" uri="{C3380CC4-5D6E-409C-BE32-E72D297353CC}">
              <c16:uniqueId val="{00000004-41A3-42B5-BA71-FCBCDB5C19D0}"/>
            </c:ext>
          </c:extLst>
        </c:ser>
        <c:ser>
          <c:idx val="5"/>
          <c:order val="5"/>
          <c:tx>
            <c:strRef>
              <c:f>Alle_biology!$A$139</c:f>
              <c:strCache>
                <c:ptCount val="1"/>
                <c:pt idx="0">
                  <c:v>Other costs</c:v>
                </c:pt>
              </c:strCache>
            </c:strRef>
          </c:tx>
          <c:spPr>
            <a:ln w="34925" cap="rnd">
              <a:solidFill>
                <a:schemeClr val="accent6"/>
              </a:solidFill>
              <a:round/>
            </a:ln>
            <a:effectLst>
              <a:outerShdw blurRad="88900" dist="38100" dir="5040000" rotWithShape="0">
                <a:srgbClr val="000000">
                  <a:alpha val="60000"/>
                </a:srgbClr>
              </a:outerShdw>
            </a:effectLst>
          </c:spPr>
          <c:marker>
            <c:symbol val="none"/>
          </c:marker>
          <c:cat>
            <c:numRef>
              <c:f>Alle_biology!$C$2:$R$2</c:f>
              <c:numCache>
                <c:formatCode>0</c:formatCode>
                <c:ptCount val="16"/>
                <c:pt idx="0" formatCode="General">
                  <c:v>2020</c:v>
                </c:pt>
                <c:pt idx="1">
                  <c:v>2019</c:v>
                </c:pt>
                <c:pt idx="2">
                  <c:v>2018</c:v>
                </c:pt>
                <c:pt idx="3">
                  <c:v>2017</c:v>
                </c:pt>
                <c:pt idx="4">
                  <c:v>2016</c:v>
                </c:pt>
                <c:pt idx="5">
                  <c:v>2015</c:v>
                </c:pt>
                <c:pt idx="6">
                  <c:v>2014</c:v>
                </c:pt>
                <c:pt idx="7">
                  <c:v>2013</c:v>
                </c:pt>
                <c:pt idx="8">
                  <c:v>2012</c:v>
                </c:pt>
                <c:pt idx="9">
                  <c:v>2011</c:v>
                </c:pt>
                <c:pt idx="10">
                  <c:v>2010</c:v>
                </c:pt>
                <c:pt idx="11">
                  <c:v>2009</c:v>
                </c:pt>
                <c:pt idx="12">
                  <c:v>2008</c:v>
                </c:pt>
                <c:pt idx="13">
                  <c:v>2007</c:v>
                </c:pt>
                <c:pt idx="14">
                  <c:v>2006</c:v>
                </c:pt>
                <c:pt idx="15">
                  <c:v>2005</c:v>
                </c:pt>
              </c:numCache>
            </c:numRef>
          </c:cat>
          <c:val>
            <c:numRef>
              <c:f>Alle_biology!$C$139:$R$139</c:f>
              <c:numCache>
                <c:formatCode>#,##0.00</c:formatCode>
                <c:ptCount val="16"/>
                <c:pt idx="0">
                  <c:v>4.1745636924263563</c:v>
                </c:pt>
                <c:pt idx="1">
                  <c:v>3.7531044364341808</c:v>
                </c:pt>
                <c:pt idx="2">
                  <c:v>3.1256080408840736</c:v>
                </c:pt>
                <c:pt idx="3">
                  <c:v>3.5516540317611751</c:v>
                </c:pt>
                <c:pt idx="4">
                  <c:v>4.3192251498320964</c:v>
                </c:pt>
                <c:pt idx="5">
                  <c:v>2.9465449666781414</c:v>
                </c:pt>
                <c:pt idx="6">
                  <c:v>2.5299717933754193</c:v>
                </c:pt>
                <c:pt idx="7">
                  <c:v>2.548817013245797</c:v>
                </c:pt>
                <c:pt idx="8">
                  <c:v>1.0510701117297969</c:v>
                </c:pt>
                <c:pt idx="9">
                  <c:v>1.0957673457955546</c:v>
                </c:pt>
                <c:pt idx="10">
                  <c:v>0.90045499061410461</c:v>
                </c:pt>
                <c:pt idx="11">
                  <c:v>0.81200209108780119</c:v>
                </c:pt>
                <c:pt idx="12">
                  <c:v>0.86401587779191069</c:v>
                </c:pt>
                <c:pt idx="13">
                  <c:v>0.24996619982427859</c:v>
                </c:pt>
                <c:pt idx="14">
                  <c:v>0.56527310981969614</c:v>
                </c:pt>
                <c:pt idx="15">
                  <c:v>0</c:v>
                </c:pt>
              </c:numCache>
            </c:numRef>
          </c:val>
          <c:smooth val="0"/>
          <c:extLst>
            <c:ext xmlns:c16="http://schemas.microsoft.com/office/drawing/2014/chart" uri="{C3380CC4-5D6E-409C-BE32-E72D297353CC}">
              <c16:uniqueId val="{00000005-41A3-42B5-BA71-FCBCDB5C19D0}"/>
            </c:ext>
          </c:extLst>
        </c:ser>
        <c:ser>
          <c:idx val="6"/>
          <c:order val="6"/>
          <c:tx>
            <c:strRef>
              <c:f>Alle_biology!$A$140</c:f>
              <c:strCache>
                <c:ptCount val="1"/>
                <c:pt idx="0">
                  <c:v>Biology</c:v>
                </c:pt>
              </c:strCache>
            </c:strRef>
          </c:tx>
          <c:spPr>
            <a:ln w="34925" cap="rnd">
              <a:solidFill>
                <a:srgbClr val="00B050"/>
              </a:solidFill>
              <a:round/>
            </a:ln>
            <a:effectLst>
              <a:outerShdw blurRad="88900" dist="38100" dir="5040000" rotWithShape="0">
                <a:srgbClr val="000000">
                  <a:alpha val="60000"/>
                </a:srgbClr>
              </a:outerShdw>
            </a:effectLst>
          </c:spPr>
          <c:marker>
            <c:symbol val="none"/>
          </c:marker>
          <c:cat>
            <c:numRef>
              <c:f>Alle_biology!$C$2:$R$2</c:f>
              <c:numCache>
                <c:formatCode>0</c:formatCode>
                <c:ptCount val="16"/>
                <c:pt idx="0" formatCode="General">
                  <c:v>2020</c:v>
                </c:pt>
                <c:pt idx="1">
                  <c:v>2019</c:v>
                </c:pt>
                <c:pt idx="2">
                  <c:v>2018</c:v>
                </c:pt>
                <c:pt idx="3">
                  <c:v>2017</c:v>
                </c:pt>
                <c:pt idx="4">
                  <c:v>2016</c:v>
                </c:pt>
                <c:pt idx="5">
                  <c:v>2015</c:v>
                </c:pt>
                <c:pt idx="6">
                  <c:v>2014</c:v>
                </c:pt>
                <c:pt idx="7">
                  <c:v>2013</c:v>
                </c:pt>
                <c:pt idx="8">
                  <c:v>2012</c:v>
                </c:pt>
                <c:pt idx="9">
                  <c:v>2011</c:v>
                </c:pt>
                <c:pt idx="10">
                  <c:v>2010</c:v>
                </c:pt>
                <c:pt idx="11">
                  <c:v>2009</c:v>
                </c:pt>
                <c:pt idx="12">
                  <c:v>2008</c:v>
                </c:pt>
                <c:pt idx="13">
                  <c:v>2007</c:v>
                </c:pt>
                <c:pt idx="14">
                  <c:v>2006</c:v>
                </c:pt>
                <c:pt idx="15">
                  <c:v>2005</c:v>
                </c:pt>
              </c:numCache>
            </c:numRef>
          </c:cat>
          <c:val>
            <c:numRef>
              <c:f>Alle_biology!$C$140:$R$140</c:f>
              <c:numCache>
                <c:formatCode>#,##0.00</c:formatCode>
                <c:ptCount val="16"/>
                <c:pt idx="0">
                  <c:v>12.836160581629283</c:v>
                </c:pt>
                <c:pt idx="1">
                  <c:v>11.434753143193426</c:v>
                </c:pt>
                <c:pt idx="2">
                  <c:v>7.6607817640598519</c:v>
                </c:pt>
                <c:pt idx="3">
                  <c:v>9.8708356037209057</c:v>
                </c:pt>
                <c:pt idx="4">
                  <c:v>8.4783892758924253</c:v>
                </c:pt>
                <c:pt idx="5">
                  <c:v>5.9362558723775614</c:v>
                </c:pt>
                <c:pt idx="6">
                  <c:v>4.6637158202165452</c:v>
                </c:pt>
                <c:pt idx="7">
                  <c:v>5.0112815816210414</c:v>
                </c:pt>
                <c:pt idx="8">
                  <c:v>2.3373509712073961</c:v>
                </c:pt>
                <c:pt idx="9">
                  <c:v>3.1024557456754209</c:v>
                </c:pt>
                <c:pt idx="10">
                  <c:v>5.2330248008745528</c:v>
                </c:pt>
                <c:pt idx="11">
                  <c:v>2.677812539068853</c:v>
                </c:pt>
                <c:pt idx="12">
                  <c:v>3.1170095962555493</c:v>
                </c:pt>
                <c:pt idx="13">
                  <c:v>0.69001346783504047</c:v>
                </c:pt>
                <c:pt idx="14">
                  <c:v>9.7350218592097804E-2</c:v>
                </c:pt>
                <c:pt idx="15">
                  <c:v>0</c:v>
                </c:pt>
              </c:numCache>
            </c:numRef>
          </c:val>
          <c:smooth val="0"/>
          <c:extLst>
            <c:ext xmlns:c16="http://schemas.microsoft.com/office/drawing/2014/chart" uri="{C3380CC4-5D6E-409C-BE32-E72D297353CC}">
              <c16:uniqueId val="{00000006-41A3-42B5-BA71-FCBCDB5C19D0}"/>
            </c:ext>
          </c:extLst>
        </c:ser>
        <c:dLbls>
          <c:showLegendKey val="0"/>
          <c:showVal val="0"/>
          <c:showCatName val="0"/>
          <c:showSerName val="0"/>
          <c:showPercent val="0"/>
          <c:showBubbleSize val="0"/>
        </c:dLbls>
        <c:smooth val="0"/>
        <c:axId val="721015391"/>
        <c:axId val="502230383"/>
      </c:lineChart>
      <c:catAx>
        <c:axId val="721015391"/>
        <c:scaling>
          <c:orientation val="maxMin"/>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2"/>
                </a:solidFill>
                <a:latin typeface="+mn-lt"/>
                <a:ea typeface="+mn-ea"/>
                <a:cs typeface="+mn-cs"/>
              </a:defRPr>
            </a:pPr>
            <a:endParaRPr lang="nb-NO"/>
          </a:p>
        </c:txPr>
        <c:crossAx val="502230383"/>
        <c:crosses val="autoZero"/>
        <c:auto val="1"/>
        <c:lblAlgn val="ctr"/>
        <c:lblOffset val="100"/>
        <c:noMultiLvlLbl val="0"/>
      </c:catAx>
      <c:valAx>
        <c:axId val="5022303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2"/>
                </a:solidFill>
                <a:latin typeface="+mn-lt"/>
                <a:ea typeface="+mn-ea"/>
                <a:cs typeface="+mn-cs"/>
              </a:defRPr>
            </a:pPr>
            <a:endParaRPr lang="nb-NO"/>
          </a:p>
        </c:txPr>
        <c:crossAx val="7210153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4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C8E1625-0903-4BD0-A4D3-F8465E88CBE9}"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nb-NO"/>
        </a:p>
      </dgm:t>
    </dgm:pt>
    <dgm:pt modelId="{2C077DDC-2D76-485F-897B-C0C67D08EC8D}">
      <dgm:prSet phldrT="[Text]" custT="1"/>
      <dgm:spPr/>
      <dgm:t>
        <a:bodyPr/>
        <a:lstStyle/>
        <a:p>
          <a:r>
            <a:rPr lang="en-US" sz="2000" noProof="0" dirty="0">
              <a:latin typeface="+mn-lt"/>
              <a:ea typeface="Segoe UI" panose="020B0502040204020203" pitchFamily="34" charset="0"/>
              <a:cs typeface="Segoe UI" panose="020B0502040204020203" pitchFamily="34" charset="0"/>
            </a:rPr>
            <a:t>Short &amp; mid term</a:t>
          </a:r>
        </a:p>
      </dgm:t>
    </dgm:pt>
    <dgm:pt modelId="{CD430679-3218-42E3-A08B-D82B7D2F923E}" type="parTrans" cxnId="{BB21FD9C-4F96-4EE6-BF6A-A05E8EDE9784}">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EFC697D4-340D-42AF-A987-A41D9C26D8DD}" type="sibTrans" cxnId="{BB21FD9C-4F96-4EE6-BF6A-A05E8EDE9784}">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A60A44A3-A94B-457A-B701-986A26A21BD1}">
      <dgm:prSet phldrT="[Text]" custT="1"/>
      <dgm:spPr/>
      <dgm:t>
        <a:bodyPr/>
        <a:lstStyle/>
        <a:p>
          <a:r>
            <a:rPr lang="en-US" sz="1800" noProof="0" dirty="0">
              <a:latin typeface="+mn-lt"/>
              <a:ea typeface="Segoe UI" panose="020B0502040204020203" pitchFamily="34" charset="0"/>
              <a:cs typeface="Segoe UI" panose="020B0502040204020203" pitchFamily="34" charset="0"/>
            </a:rPr>
            <a:t>Cost</a:t>
          </a:r>
        </a:p>
      </dgm:t>
    </dgm:pt>
    <dgm:pt modelId="{B800A520-39DE-4A5B-B89F-D85EEBE6A4D9}" type="parTrans" cxnId="{C283F769-E294-4EE5-9BE2-BDCBB9C135ED}">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7EFEA500-2683-4B89-8C41-AF6B32C0ACE7}" type="sibTrans" cxnId="{C283F769-E294-4EE5-9BE2-BDCBB9C135ED}">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68C8AC32-5EEA-460C-9A2E-9761F842388B}">
      <dgm:prSet phldrT="[Text]" custT="1"/>
      <dgm:spPr/>
      <dgm:t>
        <a:bodyPr/>
        <a:lstStyle/>
        <a:p>
          <a:r>
            <a:rPr lang="en-US" sz="2000" noProof="0" dirty="0">
              <a:latin typeface="+mn-lt"/>
              <a:ea typeface="Segoe UI" panose="020B0502040204020203" pitchFamily="34" charset="0"/>
              <a:cs typeface="Segoe UI" panose="020B0502040204020203" pitchFamily="34" charset="0"/>
            </a:rPr>
            <a:t>Long term</a:t>
          </a:r>
        </a:p>
      </dgm:t>
    </dgm:pt>
    <dgm:pt modelId="{15110C5B-EB08-47A3-BB03-FF6D66F36A3D}" type="parTrans" cxnId="{06B311E3-2ADE-44A4-B97F-141FE04E31A3}">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02296B6F-B22F-47AF-B830-E788203D6BED}" type="sibTrans" cxnId="{06B311E3-2ADE-44A4-B97F-141FE04E31A3}">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738A8132-4FF1-4915-A132-7B8D069A14FC}">
      <dgm:prSet phldrT="[Text]" custT="1"/>
      <dgm:spPr/>
      <dgm:t>
        <a:bodyPr/>
        <a:lstStyle/>
        <a:p>
          <a:r>
            <a:rPr lang="en-US" sz="1800" noProof="0" dirty="0">
              <a:latin typeface="+mn-lt"/>
              <a:ea typeface="Segoe UI" panose="020B0502040204020203" pitchFamily="34" charset="0"/>
              <a:cs typeface="Segoe UI" panose="020B0502040204020203" pitchFamily="34" charset="0"/>
            </a:rPr>
            <a:t>License to grow</a:t>
          </a:r>
        </a:p>
      </dgm:t>
    </dgm:pt>
    <dgm:pt modelId="{A3650084-1F13-43BB-917F-EED402135BAE}" type="parTrans" cxnId="{ECB2614C-A347-4FF1-8446-806FEB37CAE2}">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07A197C8-3531-47DC-B457-1DC70E043EFE}" type="sibTrans" cxnId="{ECB2614C-A347-4FF1-8446-806FEB37CAE2}">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7861FF0A-E3A2-477E-ADE2-2A645860CB54}">
      <dgm:prSet phldrT="[Text]" custT="1"/>
      <dgm:spPr/>
      <dgm:t>
        <a:bodyPr/>
        <a:lstStyle/>
        <a:p>
          <a:r>
            <a:rPr lang="en-US" sz="1800" noProof="0" dirty="0">
              <a:latin typeface="+mn-lt"/>
              <a:ea typeface="Segoe UI" panose="020B0502040204020203" pitchFamily="34" charset="0"/>
              <a:cs typeface="Segoe UI" panose="020B0502040204020203" pitchFamily="34" charset="0"/>
            </a:rPr>
            <a:t>Price achievement</a:t>
          </a:r>
        </a:p>
      </dgm:t>
    </dgm:pt>
    <dgm:pt modelId="{9864486C-0A93-4FF6-8FFB-87E858A12456}" type="parTrans" cxnId="{9EA846D4-D1DC-45EB-804C-5EAB654D8689}">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3AF60087-D04C-4496-A200-812748257845}" type="sibTrans" cxnId="{9EA846D4-D1DC-45EB-804C-5EAB654D8689}">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D62C07EB-6995-4897-8556-D066D8F0501E}">
      <dgm:prSet phldrT="[Text]" custT="1"/>
      <dgm:spPr/>
      <dgm:t>
        <a:bodyPr/>
        <a:lstStyle/>
        <a:p>
          <a:r>
            <a:rPr lang="en-US" sz="1800" noProof="0" dirty="0">
              <a:latin typeface="+mn-lt"/>
              <a:ea typeface="Segoe UI" panose="020B0502040204020203" pitchFamily="34" charset="0"/>
              <a:cs typeface="Segoe UI" panose="020B0502040204020203" pitchFamily="34" charset="0"/>
            </a:rPr>
            <a:t>Volume</a:t>
          </a:r>
        </a:p>
      </dgm:t>
    </dgm:pt>
    <dgm:pt modelId="{A77F5C1F-8E37-4724-BA66-1196997F22D7}" type="parTrans" cxnId="{F02B954D-6278-4D86-81E3-E1744528BEB7}">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9FEBEA27-6E3A-4A6E-A14A-9ED33242CFEB}" type="sibTrans" cxnId="{F02B954D-6278-4D86-81E3-E1744528BEB7}">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F9C27344-0F15-44E7-8BB7-5AF25171AC35}">
      <dgm:prSet phldrT="[Text]" custT="1"/>
      <dgm:spPr/>
      <dgm:t>
        <a:bodyPr/>
        <a:lstStyle/>
        <a:p>
          <a:r>
            <a:rPr lang="en-US" sz="1800" noProof="0" dirty="0">
              <a:latin typeface="+mn-lt"/>
              <a:ea typeface="Segoe UI" panose="020B0502040204020203" pitchFamily="34" charset="0"/>
              <a:cs typeface="Segoe UI" panose="020B0502040204020203" pitchFamily="34" charset="0"/>
            </a:rPr>
            <a:t>License to operate</a:t>
          </a:r>
        </a:p>
      </dgm:t>
    </dgm:pt>
    <dgm:pt modelId="{6E588B77-33CB-4DB7-A932-A7C3A7D43081}" type="parTrans" cxnId="{9FF6AEDD-26CC-468F-9901-8A13B36C4899}">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4BBA7F9D-D351-4203-9867-1CECD3FBE0A7}" type="sibTrans" cxnId="{9FF6AEDD-26CC-468F-9901-8A13B36C4899}">
      <dgm:prSet/>
      <dgm:spPr/>
      <dgm:t>
        <a:bodyPr/>
        <a:lstStyle/>
        <a:p>
          <a:endParaRPr lang="en-US" noProof="0" dirty="0">
            <a:latin typeface="+mn-lt"/>
            <a:ea typeface="Segoe UI" panose="020B0502040204020203" pitchFamily="34" charset="0"/>
            <a:cs typeface="Segoe UI" panose="020B0502040204020203" pitchFamily="34" charset="0"/>
          </a:endParaRPr>
        </a:p>
      </dgm:t>
    </dgm:pt>
    <dgm:pt modelId="{878D4D88-D10E-40D8-98EE-1F429DC0A6D8}" type="pres">
      <dgm:prSet presAssocID="{9C8E1625-0903-4BD0-A4D3-F8465E88CBE9}" presName="Name0" presStyleCnt="0">
        <dgm:presLayoutVars>
          <dgm:dir/>
          <dgm:animLvl val="lvl"/>
          <dgm:resizeHandles val="exact"/>
        </dgm:presLayoutVars>
      </dgm:prSet>
      <dgm:spPr/>
    </dgm:pt>
    <dgm:pt modelId="{9F0B0422-5CD6-4D1E-B1FC-74E12DE8E785}" type="pres">
      <dgm:prSet presAssocID="{2C077DDC-2D76-485F-897B-C0C67D08EC8D}" presName="linNode" presStyleCnt="0"/>
      <dgm:spPr/>
    </dgm:pt>
    <dgm:pt modelId="{28349D16-1096-46C6-A228-F03E7DAF0F98}" type="pres">
      <dgm:prSet presAssocID="{2C077DDC-2D76-485F-897B-C0C67D08EC8D}" presName="parentText" presStyleLbl="node1" presStyleIdx="0" presStyleCnt="2">
        <dgm:presLayoutVars>
          <dgm:chMax val="1"/>
          <dgm:bulletEnabled val="1"/>
        </dgm:presLayoutVars>
      </dgm:prSet>
      <dgm:spPr/>
    </dgm:pt>
    <dgm:pt modelId="{5DA75541-9BE8-4364-AE4D-5FB0C06594DC}" type="pres">
      <dgm:prSet presAssocID="{2C077DDC-2D76-485F-897B-C0C67D08EC8D}" presName="descendantText" presStyleLbl="alignAccFollowNode1" presStyleIdx="0" presStyleCnt="2">
        <dgm:presLayoutVars>
          <dgm:bulletEnabled val="1"/>
        </dgm:presLayoutVars>
      </dgm:prSet>
      <dgm:spPr/>
    </dgm:pt>
    <dgm:pt modelId="{8F11F1A9-0B1C-41B1-8D80-058CE5D2DC9B}" type="pres">
      <dgm:prSet presAssocID="{EFC697D4-340D-42AF-A987-A41D9C26D8DD}" presName="sp" presStyleCnt="0"/>
      <dgm:spPr/>
    </dgm:pt>
    <dgm:pt modelId="{8BE51515-192A-41D4-AD48-2482BCAF6D5D}" type="pres">
      <dgm:prSet presAssocID="{68C8AC32-5EEA-460C-9A2E-9761F842388B}" presName="linNode" presStyleCnt="0"/>
      <dgm:spPr/>
    </dgm:pt>
    <dgm:pt modelId="{931EC72A-83C8-4681-8A60-99EBD18115AC}" type="pres">
      <dgm:prSet presAssocID="{68C8AC32-5EEA-460C-9A2E-9761F842388B}" presName="parentText" presStyleLbl="node1" presStyleIdx="1" presStyleCnt="2">
        <dgm:presLayoutVars>
          <dgm:chMax val="1"/>
          <dgm:bulletEnabled val="1"/>
        </dgm:presLayoutVars>
      </dgm:prSet>
      <dgm:spPr/>
    </dgm:pt>
    <dgm:pt modelId="{25B8C534-7A3D-44B7-9C61-02914A43DFF1}" type="pres">
      <dgm:prSet presAssocID="{68C8AC32-5EEA-460C-9A2E-9761F842388B}" presName="descendantText" presStyleLbl="alignAccFollowNode1" presStyleIdx="1" presStyleCnt="2">
        <dgm:presLayoutVars>
          <dgm:bulletEnabled val="1"/>
        </dgm:presLayoutVars>
      </dgm:prSet>
      <dgm:spPr/>
    </dgm:pt>
  </dgm:ptLst>
  <dgm:cxnLst>
    <dgm:cxn modelId="{FBA03021-5EC7-473F-9CA1-53632D104832}" type="presOf" srcId="{7861FF0A-E3A2-477E-ADE2-2A645860CB54}" destId="{5DA75541-9BE8-4364-AE4D-5FB0C06594DC}" srcOrd="0" destOrd="1" presId="urn:microsoft.com/office/officeart/2005/8/layout/vList5"/>
    <dgm:cxn modelId="{AE492625-9841-4681-A81D-1BCF25487908}" type="presOf" srcId="{F9C27344-0F15-44E7-8BB7-5AF25171AC35}" destId="{25B8C534-7A3D-44B7-9C61-02914A43DFF1}" srcOrd="0" destOrd="1" presId="urn:microsoft.com/office/officeart/2005/8/layout/vList5"/>
    <dgm:cxn modelId="{ADBB1E27-9E19-4751-8D13-41FD322767F1}" type="presOf" srcId="{D62C07EB-6995-4897-8556-D066D8F0501E}" destId="{5DA75541-9BE8-4364-AE4D-5FB0C06594DC}" srcOrd="0" destOrd="2" presId="urn:microsoft.com/office/officeart/2005/8/layout/vList5"/>
    <dgm:cxn modelId="{89FDAB35-2F0B-4D12-A93B-BE7EE58A40D4}" type="presOf" srcId="{68C8AC32-5EEA-460C-9A2E-9761F842388B}" destId="{931EC72A-83C8-4681-8A60-99EBD18115AC}" srcOrd="0" destOrd="0" presId="urn:microsoft.com/office/officeart/2005/8/layout/vList5"/>
    <dgm:cxn modelId="{E34AC040-6E25-4113-94C0-38A9787434AB}" type="presOf" srcId="{A60A44A3-A94B-457A-B701-986A26A21BD1}" destId="{5DA75541-9BE8-4364-AE4D-5FB0C06594DC}" srcOrd="0" destOrd="0" presId="urn:microsoft.com/office/officeart/2005/8/layout/vList5"/>
    <dgm:cxn modelId="{C283F769-E294-4EE5-9BE2-BDCBB9C135ED}" srcId="{2C077DDC-2D76-485F-897B-C0C67D08EC8D}" destId="{A60A44A3-A94B-457A-B701-986A26A21BD1}" srcOrd="0" destOrd="0" parTransId="{B800A520-39DE-4A5B-B89F-D85EEBE6A4D9}" sibTransId="{7EFEA500-2683-4B89-8C41-AF6B32C0ACE7}"/>
    <dgm:cxn modelId="{ECB2614C-A347-4FF1-8446-806FEB37CAE2}" srcId="{68C8AC32-5EEA-460C-9A2E-9761F842388B}" destId="{738A8132-4FF1-4915-A132-7B8D069A14FC}" srcOrd="0" destOrd="0" parTransId="{A3650084-1F13-43BB-917F-EED402135BAE}" sibTransId="{07A197C8-3531-47DC-B457-1DC70E043EFE}"/>
    <dgm:cxn modelId="{F02B954D-6278-4D86-81E3-E1744528BEB7}" srcId="{2C077DDC-2D76-485F-897B-C0C67D08EC8D}" destId="{D62C07EB-6995-4897-8556-D066D8F0501E}" srcOrd="2" destOrd="0" parTransId="{A77F5C1F-8E37-4724-BA66-1196997F22D7}" sibTransId="{9FEBEA27-6E3A-4A6E-A14A-9ED33242CFEB}"/>
    <dgm:cxn modelId="{3C060072-3C5D-499A-A669-805EB03AA915}" type="presOf" srcId="{738A8132-4FF1-4915-A132-7B8D069A14FC}" destId="{25B8C534-7A3D-44B7-9C61-02914A43DFF1}" srcOrd="0" destOrd="0" presId="urn:microsoft.com/office/officeart/2005/8/layout/vList5"/>
    <dgm:cxn modelId="{AD921798-C82E-4EB1-892F-D70F637573C4}" type="presOf" srcId="{2C077DDC-2D76-485F-897B-C0C67D08EC8D}" destId="{28349D16-1096-46C6-A228-F03E7DAF0F98}" srcOrd="0" destOrd="0" presId="urn:microsoft.com/office/officeart/2005/8/layout/vList5"/>
    <dgm:cxn modelId="{BB21FD9C-4F96-4EE6-BF6A-A05E8EDE9784}" srcId="{9C8E1625-0903-4BD0-A4D3-F8465E88CBE9}" destId="{2C077DDC-2D76-485F-897B-C0C67D08EC8D}" srcOrd="0" destOrd="0" parTransId="{CD430679-3218-42E3-A08B-D82B7D2F923E}" sibTransId="{EFC697D4-340D-42AF-A987-A41D9C26D8DD}"/>
    <dgm:cxn modelId="{9EA846D4-D1DC-45EB-804C-5EAB654D8689}" srcId="{2C077DDC-2D76-485F-897B-C0C67D08EC8D}" destId="{7861FF0A-E3A2-477E-ADE2-2A645860CB54}" srcOrd="1" destOrd="0" parTransId="{9864486C-0A93-4FF6-8FFB-87E858A12456}" sibTransId="{3AF60087-D04C-4496-A200-812748257845}"/>
    <dgm:cxn modelId="{9FF6AEDD-26CC-468F-9901-8A13B36C4899}" srcId="{68C8AC32-5EEA-460C-9A2E-9761F842388B}" destId="{F9C27344-0F15-44E7-8BB7-5AF25171AC35}" srcOrd="1" destOrd="0" parTransId="{6E588B77-33CB-4DB7-A932-A7C3A7D43081}" sibTransId="{4BBA7F9D-D351-4203-9867-1CECD3FBE0A7}"/>
    <dgm:cxn modelId="{06B311E3-2ADE-44A4-B97F-141FE04E31A3}" srcId="{9C8E1625-0903-4BD0-A4D3-F8465E88CBE9}" destId="{68C8AC32-5EEA-460C-9A2E-9761F842388B}" srcOrd="1" destOrd="0" parTransId="{15110C5B-EB08-47A3-BB03-FF6D66F36A3D}" sibTransId="{02296B6F-B22F-47AF-B830-E788203D6BED}"/>
    <dgm:cxn modelId="{483897E4-6F4D-492A-8594-F0C13B2B992D}" type="presOf" srcId="{9C8E1625-0903-4BD0-A4D3-F8465E88CBE9}" destId="{878D4D88-D10E-40D8-98EE-1F429DC0A6D8}" srcOrd="0" destOrd="0" presId="urn:microsoft.com/office/officeart/2005/8/layout/vList5"/>
    <dgm:cxn modelId="{314DA647-9027-49C4-B0D0-864BE9182E41}" type="presParOf" srcId="{878D4D88-D10E-40D8-98EE-1F429DC0A6D8}" destId="{9F0B0422-5CD6-4D1E-B1FC-74E12DE8E785}" srcOrd="0" destOrd="0" presId="urn:microsoft.com/office/officeart/2005/8/layout/vList5"/>
    <dgm:cxn modelId="{BCF81092-B5CE-4A27-A34C-21A81D98CFDC}" type="presParOf" srcId="{9F0B0422-5CD6-4D1E-B1FC-74E12DE8E785}" destId="{28349D16-1096-46C6-A228-F03E7DAF0F98}" srcOrd="0" destOrd="0" presId="urn:microsoft.com/office/officeart/2005/8/layout/vList5"/>
    <dgm:cxn modelId="{59A389B2-8A0C-4732-A388-4DFED97B2F6E}" type="presParOf" srcId="{9F0B0422-5CD6-4D1E-B1FC-74E12DE8E785}" destId="{5DA75541-9BE8-4364-AE4D-5FB0C06594DC}" srcOrd="1" destOrd="0" presId="urn:microsoft.com/office/officeart/2005/8/layout/vList5"/>
    <dgm:cxn modelId="{CD1BD7FC-1A80-47A8-8804-51A4A5913168}" type="presParOf" srcId="{878D4D88-D10E-40D8-98EE-1F429DC0A6D8}" destId="{8F11F1A9-0B1C-41B1-8D80-058CE5D2DC9B}" srcOrd="1" destOrd="0" presId="urn:microsoft.com/office/officeart/2005/8/layout/vList5"/>
    <dgm:cxn modelId="{8A7D7D7B-68BA-445D-BBF2-2A3C33AF8B75}" type="presParOf" srcId="{878D4D88-D10E-40D8-98EE-1F429DC0A6D8}" destId="{8BE51515-192A-41D4-AD48-2482BCAF6D5D}" srcOrd="2" destOrd="0" presId="urn:microsoft.com/office/officeart/2005/8/layout/vList5"/>
    <dgm:cxn modelId="{61AE6670-ABFB-4543-8015-839A3A68B03E}" type="presParOf" srcId="{8BE51515-192A-41D4-AD48-2482BCAF6D5D}" destId="{931EC72A-83C8-4681-8A60-99EBD18115AC}" srcOrd="0" destOrd="0" presId="urn:microsoft.com/office/officeart/2005/8/layout/vList5"/>
    <dgm:cxn modelId="{30B0B42A-9105-42D7-B751-5D2AF466C5AC}" type="presParOf" srcId="{8BE51515-192A-41D4-AD48-2482BCAF6D5D}" destId="{25B8C534-7A3D-44B7-9C61-02914A43DFF1}"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A75541-9BE8-4364-AE4D-5FB0C06594DC}">
      <dsp:nvSpPr>
        <dsp:cNvPr id="0" name=""/>
        <dsp:cNvSpPr/>
      </dsp:nvSpPr>
      <dsp:spPr>
        <a:xfrm rot="5400000">
          <a:off x="3492823" y="-1135108"/>
          <a:ext cx="1304912" cy="390144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noProof="0" dirty="0">
              <a:latin typeface="+mn-lt"/>
              <a:ea typeface="Segoe UI" panose="020B0502040204020203" pitchFamily="34" charset="0"/>
              <a:cs typeface="Segoe UI" panose="020B0502040204020203" pitchFamily="34" charset="0"/>
            </a:rPr>
            <a:t>Cost</a:t>
          </a:r>
        </a:p>
        <a:p>
          <a:pPr marL="171450" lvl="1" indent="-171450" algn="l" defTabSz="800100">
            <a:lnSpc>
              <a:spcPct val="90000"/>
            </a:lnSpc>
            <a:spcBef>
              <a:spcPct val="0"/>
            </a:spcBef>
            <a:spcAft>
              <a:spcPct val="15000"/>
            </a:spcAft>
            <a:buChar char="•"/>
          </a:pPr>
          <a:r>
            <a:rPr lang="en-US" sz="1800" kern="1200" noProof="0" dirty="0">
              <a:latin typeface="+mn-lt"/>
              <a:ea typeface="Segoe UI" panose="020B0502040204020203" pitchFamily="34" charset="0"/>
              <a:cs typeface="Segoe UI" panose="020B0502040204020203" pitchFamily="34" charset="0"/>
            </a:rPr>
            <a:t>Price achievement</a:t>
          </a:r>
        </a:p>
        <a:p>
          <a:pPr marL="171450" lvl="1" indent="-171450" algn="l" defTabSz="800100">
            <a:lnSpc>
              <a:spcPct val="90000"/>
            </a:lnSpc>
            <a:spcBef>
              <a:spcPct val="0"/>
            </a:spcBef>
            <a:spcAft>
              <a:spcPct val="15000"/>
            </a:spcAft>
            <a:buChar char="•"/>
          </a:pPr>
          <a:r>
            <a:rPr lang="en-US" sz="1800" kern="1200" noProof="0" dirty="0">
              <a:latin typeface="+mn-lt"/>
              <a:ea typeface="Segoe UI" panose="020B0502040204020203" pitchFamily="34" charset="0"/>
              <a:cs typeface="Segoe UI" panose="020B0502040204020203" pitchFamily="34" charset="0"/>
            </a:rPr>
            <a:t>Volume</a:t>
          </a:r>
        </a:p>
      </dsp:txBody>
      <dsp:txXfrm rot="-5400000">
        <a:off x="2194560" y="226856"/>
        <a:ext cx="3837739" cy="1177510"/>
      </dsp:txXfrm>
    </dsp:sp>
    <dsp:sp modelId="{28349D16-1096-46C6-A228-F03E7DAF0F98}">
      <dsp:nvSpPr>
        <dsp:cNvPr id="0" name=""/>
        <dsp:cNvSpPr/>
      </dsp:nvSpPr>
      <dsp:spPr>
        <a:xfrm>
          <a:off x="0" y="40"/>
          <a:ext cx="2194560" cy="16311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noProof="0" dirty="0">
              <a:latin typeface="+mn-lt"/>
              <a:ea typeface="Segoe UI" panose="020B0502040204020203" pitchFamily="34" charset="0"/>
              <a:cs typeface="Segoe UI" panose="020B0502040204020203" pitchFamily="34" charset="0"/>
            </a:rPr>
            <a:t>Short &amp; mid term</a:t>
          </a:r>
        </a:p>
      </dsp:txBody>
      <dsp:txXfrm>
        <a:off x="79626" y="79666"/>
        <a:ext cx="2035308" cy="1471888"/>
      </dsp:txXfrm>
    </dsp:sp>
    <dsp:sp modelId="{25B8C534-7A3D-44B7-9C61-02914A43DFF1}">
      <dsp:nvSpPr>
        <dsp:cNvPr id="0" name=""/>
        <dsp:cNvSpPr/>
      </dsp:nvSpPr>
      <dsp:spPr>
        <a:xfrm rot="5400000">
          <a:off x="3492823" y="577588"/>
          <a:ext cx="1304912" cy="3901440"/>
        </a:xfrm>
        <a:prstGeom prst="round2Same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n-US" sz="1800" kern="1200" noProof="0" dirty="0">
              <a:latin typeface="+mn-lt"/>
              <a:ea typeface="Segoe UI" panose="020B0502040204020203" pitchFamily="34" charset="0"/>
              <a:cs typeface="Segoe UI" panose="020B0502040204020203" pitchFamily="34" charset="0"/>
            </a:rPr>
            <a:t>License to grow</a:t>
          </a:r>
        </a:p>
        <a:p>
          <a:pPr marL="171450" lvl="1" indent="-171450" algn="l" defTabSz="800100">
            <a:lnSpc>
              <a:spcPct val="90000"/>
            </a:lnSpc>
            <a:spcBef>
              <a:spcPct val="0"/>
            </a:spcBef>
            <a:spcAft>
              <a:spcPct val="15000"/>
            </a:spcAft>
            <a:buChar char="•"/>
          </a:pPr>
          <a:r>
            <a:rPr lang="en-US" sz="1800" kern="1200" noProof="0" dirty="0">
              <a:latin typeface="+mn-lt"/>
              <a:ea typeface="Segoe UI" panose="020B0502040204020203" pitchFamily="34" charset="0"/>
              <a:cs typeface="Segoe UI" panose="020B0502040204020203" pitchFamily="34" charset="0"/>
            </a:rPr>
            <a:t>License to operate</a:t>
          </a:r>
        </a:p>
      </dsp:txBody>
      <dsp:txXfrm rot="-5400000">
        <a:off x="2194560" y="1939553"/>
        <a:ext cx="3837739" cy="1177510"/>
      </dsp:txXfrm>
    </dsp:sp>
    <dsp:sp modelId="{931EC72A-83C8-4681-8A60-99EBD18115AC}">
      <dsp:nvSpPr>
        <dsp:cNvPr id="0" name=""/>
        <dsp:cNvSpPr/>
      </dsp:nvSpPr>
      <dsp:spPr>
        <a:xfrm>
          <a:off x="0" y="1712738"/>
          <a:ext cx="2194560" cy="16311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n-US" sz="2000" kern="1200" noProof="0" dirty="0">
              <a:latin typeface="+mn-lt"/>
              <a:ea typeface="Segoe UI" panose="020B0502040204020203" pitchFamily="34" charset="0"/>
              <a:cs typeface="Segoe UI" panose="020B0502040204020203" pitchFamily="34" charset="0"/>
            </a:rPr>
            <a:t>Long term</a:t>
          </a:r>
        </a:p>
      </dsp:txBody>
      <dsp:txXfrm>
        <a:off x="79626" y="1792364"/>
        <a:ext cx="2035308" cy="1471888"/>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8685</cdr:x>
      <cdr:y>0.55946</cdr:y>
    </cdr:from>
    <cdr:to>
      <cdr:x>0.89796</cdr:x>
      <cdr:y>0.62357</cdr:y>
    </cdr:to>
    <cdr:sp macro="" textlink="">
      <cdr:nvSpPr>
        <cdr:cNvPr id="2" name="TekstSylinder 1">
          <a:extLst xmlns:a="http://schemas.openxmlformats.org/drawingml/2006/main">
            <a:ext uri="{FF2B5EF4-FFF2-40B4-BE49-F238E27FC236}">
              <a16:creationId xmlns:a16="http://schemas.microsoft.com/office/drawing/2014/main" id="{7927163D-92A1-4AF7-A3A3-5BCDA0CD845B}"/>
            </a:ext>
          </a:extLst>
        </cdr:cNvPr>
        <cdr:cNvSpPr txBox="1"/>
      </cdr:nvSpPr>
      <cdr:spPr>
        <a:xfrm xmlns:a="http://schemas.openxmlformats.org/drawingml/2006/main">
          <a:off x="6336704" y="2417134"/>
          <a:ext cx="894797"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defTabSz="457200" rtl="0" eaLnBrk="1" latinLnBrk="0" hangingPunct="1"/>
          <a:r>
            <a:rPr lang="en-US" sz="1200" kern="1200" noProof="0" dirty="0">
              <a:solidFill>
                <a:schemeClr val="tx1"/>
              </a:solidFill>
              <a:highlight>
                <a:srgbClr val="FFFF00"/>
              </a:highlight>
              <a:latin typeface="+mn-lt"/>
              <a:ea typeface="+mn-ea"/>
              <a:cs typeface="+mn-cs"/>
            </a:rPr>
            <a:t>Other cost</a:t>
          </a:r>
        </a:p>
      </cdr:txBody>
    </cdr:sp>
  </cdr:relSizeAnchor>
  <cdr:relSizeAnchor xmlns:cdr="http://schemas.openxmlformats.org/drawingml/2006/chartDrawing">
    <cdr:from>
      <cdr:x>0.80397</cdr:x>
      <cdr:y>0.08843</cdr:y>
    </cdr:from>
    <cdr:to>
      <cdr:x>0.97937</cdr:x>
      <cdr:y>0.19528</cdr:y>
    </cdr:to>
    <cdr:sp macro="" textlink="">
      <cdr:nvSpPr>
        <cdr:cNvPr id="3" name="TekstSylinder 1">
          <a:extLst xmlns:a="http://schemas.openxmlformats.org/drawingml/2006/main">
            <a:ext uri="{FF2B5EF4-FFF2-40B4-BE49-F238E27FC236}">
              <a16:creationId xmlns:a16="http://schemas.microsoft.com/office/drawing/2014/main" id="{DACCF51C-CDD3-4CBC-93C2-7E3BA8D6727E}"/>
            </a:ext>
          </a:extLst>
        </cdr:cNvPr>
        <cdr:cNvSpPr txBox="1"/>
      </cdr:nvSpPr>
      <cdr:spPr>
        <a:xfrm xmlns:a="http://schemas.openxmlformats.org/drawingml/2006/main">
          <a:off x="6474580" y="382046"/>
          <a:ext cx="1412544" cy="461644"/>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defTabSz="457200" rtl="0" eaLnBrk="1" latinLnBrk="0" hangingPunct="1"/>
          <a:r>
            <a:rPr lang="en-US" sz="1200" kern="1200" noProof="0" dirty="0">
              <a:solidFill>
                <a:schemeClr val="tx1"/>
              </a:solidFill>
              <a:highlight>
                <a:srgbClr val="FFFF00"/>
              </a:highlight>
              <a:latin typeface="+mn-lt"/>
              <a:ea typeface="+mn-ea"/>
              <a:cs typeface="+mn-cs"/>
            </a:rPr>
            <a:t>Biology/</a:t>
          </a:r>
        </a:p>
        <a:p xmlns:a="http://schemas.openxmlformats.org/drawingml/2006/main">
          <a:pPr marL="0" indent="0" algn="l" defTabSz="457200" rtl="0" eaLnBrk="1" latinLnBrk="0" hangingPunct="1"/>
          <a:r>
            <a:rPr lang="en-US" sz="1200" kern="1200" noProof="0" dirty="0">
              <a:solidFill>
                <a:schemeClr val="tx1"/>
              </a:solidFill>
              <a:highlight>
                <a:srgbClr val="FFFF00"/>
              </a:highlight>
              <a:latin typeface="+mn-lt"/>
              <a:ea typeface="+mn-ea"/>
              <a:cs typeface="+mn-cs"/>
            </a:rPr>
            <a:t>Sustainability cost</a:t>
          </a:r>
        </a:p>
      </cdr:txBody>
    </cdr:sp>
  </cdr:relSizeAnchor>
  <cdr:relSizeAnchor xmlns:cdr="http://schemas.openxmlformats.org/drawingml/2006/chartDrawing">
    <cdr:from>
      <cdr:x>0.77791</cdr:x>
      <cdr:y>0.62431</cdr:y>
    </cdr:from>
    <cdr:to>
      <cdr:x>0.84423</cdr:x>
      <cdr:y>0.68843</cdr:y>
    </cdr:to>
    <cdr:sp macro="" textlink="">
      <cdr:nvSpPr>
        <cdr:cNvPr id="4" name="TekstSylinder 1">
          <a:extLst xmlns:a="http://schemas.openxmlformats.org/drawingml/2006/main">
            <a:ext uri="{FF2B5EF4-FFF2-40B4-BE49-F238E27FC236}">
              <a16:creationId xmlns:a16="http://schemas.microsoft.com/office/drawing/2014/main" id="{7A5922D8-8CA3-46CA-A974-3CE31764260F}"/>
            </a:ext>
          </a:extLst>
        </cdr:cNvPr>
        <cdr:cNvSpPr txBox="1"/>
      </cdr:nvSpPr>
      <cdr:spPr>
        <a:xfrm xmlns:a="http://schemas.openxmlformats.org/drawingml/2006/main">
          <a:off x="6264696" y="2697335"/>
          <a:ext cx="534093" cy="27702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defTabSz="457200" rtl="0" eaLnBrk="1" latinLnBrk="0" hangingPunct="1"/>
          <a:r>
            <a:rPr lang="en-US" sz="1200" kern="1200" noProof="0" dirty="0">
              <a:solidFill>
                <a:schemeClr val="tx1"/>
              </a:solidFill>
              <a:highlight>
                <a:srgbClr val="FFFF00"/>
              </a:highlight>
            </a:rPr>
            <a:t>Feed</a:t>
          </a:r>
          <a:endParaRPr lang="en-US" sz="1200" kern="1200" noProof="0" dirty="0">
            <a:solidFill>
              <a:schemeClr val="tx1"/>
            </a:solidFill>
            <a:highlight>
              <a:srgbClr val="FFFF00"/>
            </a:highlight>
            <a:latin typeface="+mn-lt"/>
            <a:ea typeface="+mn-ea"/>
            <a:cs typeface="+mn-cs"/>
          </a:endParaRPr>
        </a:p>
      </cdr:txBody>
    </cdr:sp>
  </cdr:relSizeAnchor>
  <cdr:relSizeAnchor xmlns:cdr="http://schemas.openxmlformats.org/drawingml/2006/chartDrawing">
    <cdr:from>
      <cdr:x>0.77791</cdr:x>
      <cdr:y>0.81657</cdr:y>
    </cdr:from>
    <cdr:to>
      <cdr:x>0.91131</cdr:x>
      <cdr:y>0.88068</cdr:y>
    </cdr:to>
    <cdr:sp macro="" textlink="">
      <cdr:nvSpPr>
        <cdr:cNvPr id="5" name="TekstSylinder 1">
          <a:extLst xmlns:a="http://schemas.openxmlformats.org/drawingml/2006/main">
            <a:ext uri="{FF2B5EF4-FFF2-40B4-BE49-F238E27FC236}">
              <a16:creationId xmlns:a16="http://schemas.microsoft.com/office/drawing/2014/main" id="{7135FD43-FC37-442E-A086-50BB052E7608}"/>
            </a:ext>
          </a:extLst>
        </cdr:cNvPr>
        <cdr:cNvSpPr txBox="1"/>
      </cdr:nvSpPr>
      <cdr:spPr>
        <a:xfrm xmlns:a="http://schemas.openxmlformats.org/drawingml/2006/main">
          <a:off x="6264696" y="3527978"/>
          <a:ext cx="1074307"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defTabSz="457200" rtl="0" eaLnBrk="1" latinLnBrk="0" hangingPunct="1"/>
          <a:r>
            <a:rPr lang="en-US" sz="1200" kern="1200" noProof="0" dirty="0">
              <a:solidFill>
                <a:schemeClr val="tx1"/>
              </a:solidFill>
              <a:highlight>
                <a:srgbClr val="FFFF00"/>
              </a:highlight>
              <a:latin typeface="+mn-lt"/>
              <a:ea typeface="+mn-ea"/>
              <a:cs typeface="+mn-cs"/>
            </a:rPr>
            <a:t>Harvesting</a:t>
          </a:r>
        </a:p>
      </cdr:txBody>
    </cdr:sp>
  </cdr:relSizeAnchor>
  <cdr:relSizeAnchor xmlns:cdr="http://schemas.openxmlformats.org/drawingml/2006/chartDrawing">
    <cdr:from>
      <cdr:x>0.80473</cdr:x>
      <cdr:y>0.76535</cdr:y>
    </cdr:from>
    <cdr:to>
      <cdr:x>0.88627</cdr:x>
      <cdr:y>0.82947</cdr:y>
    </cdr:to>
    <cdr:sp macro="" textlink="">
      <cdr:nvSpPr>
        <cdr:cNvPr id="6" name="TekstSylinder 1">
          <a:extLst xmlns:a="http://schemas.openxmlformats.org/drawingml/2006/main">
            <a:ext uri="{FF2B5EF4-FFF2-40B4-BE49-F238E27FC236}">
              <a16:creationId xmlns:a16="http://schemas.microsoft.com/office/drawing/2014/main" id="{74F0EBF5-09CA-4051-89E7-E2B291C7382B}"/>
            </a:ext>
          </a:extLst>
        </cdr:cNvPr>
        <cdr:cNvSpPr txBox="1"/>
      </cdr:nvSpPr>
      <cdr:spPr>
        <a:xfrm xmlns:a="http://schemas.openxmlformats.org/drawingml/2006/main">
          <a:off x="6480720" y="3306697"/>
          <a:ext cx="656655"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defTabSz="457200" rtl="0" eaLnBrk="1" latinLnBrk="0" hangingPunct="1"/>
          <a:r>
            <a:rPr lang="en-US" sz="1200" kern="1200" noProof="0" dirty="0">
              <a:solidFill>
                <a:schemeClr val="tx1"/>
              </a:solidFill>
              <a:highlight>
                <a:srgbClr val="FFFF00"/>
              </a:highlight>
            </a:rPr>
            <a:t>Wages</a:t>
          </a:r>
          <a:endParaRPr lang="en-US" sz="1200" kern="1200" noProof="0" dirty="0">
            <a:solidFill>
              <a:schemeClr val="tx1"/>
            </a:solidFill>
            <a:highlight>
              <a:srgbClr val="FFFF00"/>
            </a:highlight>
            <a:latin typeface="+mn-lt"/>
            <a:ea typeface="+mn-ea"/>
            <a:cs typeface="+mn-cs"/>
          </a:endParaRPr>
        </a:p>
      </cdr:txBody>
    </cdr:sp>
  </cdr:relSizeAnchor>
  <cdr:relSizeAnchor xmlns:cdr="http://schemas.openxmlformats.org/drawingml/2006/chartDrawing">
    <cdr:from>
      <cdr:x>0.76002</cdr:x>
      <cdr:y>0.72431</cdr:y>
    </cdr:from>
    <cdr:to>
      <cdr:x>0.83172</cdr:x>
      <cdr:y>0.78843</cdr:y>
    </cdr:to>
    <cdr:sp macro="" textlink="">
      <cdr:nvSpPr>
        <cdr:cNvPr id="7" name="TekstSylinder 1">
          <a:extLst xmlns:a="http://schemas.openxmlformats.org/drawingml/2006/main">
            <a:ext uri="{FF2B5EF4-FFF2-40B4-BE49-F238E27FC236}">
              <a16:creationId xmlns:a16="http://schemas.microsoft.com/office/drawing/2014/main" id="{C68D6E95-0A25-468F-A27D-BB4B7CE1B4F4}"/>
            </a:ext>
          </a:extLst>
        </cdr:cNvPr>
        <cdr:cNvSpPr txBox="1"/>
      </cdr:nvSpPr>
      <cdr:spPr>
        <a:xfrm xmlns:a="http://schemas.openxmlformats.org/drawingml/2006/main">
          <a:off x="6120680" y="3129383"/>
          <a:ext cx="577420" cy="27702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defTabSz="457200" rtl="0" eaLnBrk="1" latinLnBrk="0" hangingPunct="1"/>
          <a:r>
            <a:rPr lang="en-US" sz="1200" kern="1200" noProof="0" dirty="0">
              <a:solidFill>
                <a:schemeClr val="tx1"/>
              </a:solidFill>
              <a:highlight>
                <a:srgbClr val="FFFF00"/>
              </a:highlight>
              <a:latin typeface="+mn-lt"/>
              <a:ea typeface="+mn-ea"/>
              <a:cs typeface="+mn-cs"/>
            </a:rPr>
            <a:t>Smolt</a:t>
          </a:r>
        </a:p>
      </cdr:txBody>
    </cdr:sp>
  </cdr:relSizeAnchor>
  <cdr:relSizeAnchor xmlns:cdr="http://schemas.openxmlformats.org/drawingml/2006/chartDrawing">
    <cdr:from>
      <cdr:x>0.76002</cdr:x>
      <cdr:y>0.51216</cdr:y>
    </cdr:from>
    <cdr:to>
      <cdr:x>0.90378</cdr:x>
      <cdr:y>0.57627</cdr:y>
    </cdr:to>
    <cdr:sp macro="" textlink="">
      <cdr:nvSpPr>
        <cdr:cNvPr id="8" name="TekstSylinder 1">
          <a:extLst xmlns:a="http://schemas.openxmlformats.org/drawingml/2006/main">
            <a:ext uri="{FF2B5EF4-FFF2-40B4-BE49-F238E27FC236}">
              <a16:creationId xmlns:a16="http://schemas.microsoft.com/office/drawing/2014/main" id="{C8E97E63-4DF3-4EF2-8352-17ADDB7BDE0F}"/>
            </a:ext>
          </a:extLst>
        </cdr:cNvPr>
        <cdr:cNvSpPr txBox="1"/>
      </cdr:nvSpPr>
      <cdr:spPr>
        <a:xfrm xmlns:a="http://schemas.openxmlformats.org/drawingml/2006/main">
          <a:off x="6120680" y="2212763"/>
          <a:ext cx="1157689"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l" defTabSz="457200" rtl="0" eaLnBrk="1" latinLnBrk="0" hangingPunct="1"/>
          <a:r>
            <a:rPr lang="en-US" sz="1200" kern="1200" noProof="0" dirty="0">
              <a:solidFill>
                <a:schemeClr val="tx1"/>
              </a:solidFill>
              <a:highlight>
                <a:srgbClr val="FFFF00"/>
              </a:highlight>
              <a:latin typeface="+mn-lt"/>
              <a:ea typeface="+mn-ea"/>
              <a:cs typeface="+mn-cs"/>
            </a:rPr>
            <a:t>Cost of capital</a:t>
          </a:r>
        </a:p>
      </cdr:txBody>
    </cdr:sp>
  </cdr:relSizeAnchor>
  <cdr:relSizeAnchor xmlns:cdr="http://schemas.openxmlformats.org/drawingml/2006/chartDrawing">
    <cdr:from>
      <cdr:x>0.78447</cdr:x>
      <cdr:y>0.93726</cdr:y>
    </cdr:from>
    <cdr:to>
      <cdr:x>0.87526</cdr:x>
      <cdr:y>0.99425</cdr:y>
    </cdr:to>
    <cdr:sp macro="" textlink="">
      <cdr:nvSpPr>
        <cdr:cNvPr id="9" name="TextBox 8">
          <a:extLst xmlns:a="http://schemas.openxmlformats.org/drawingml/2006/main">
            <a:ext uri="{FF2B5EF4-FFF2-40B4-BE49-F238E27FC236}">
              <a16:creationId xmlns:a16="http://schemas.microsoft.com/office/drawing/2014/main" id="{6C3A416E-3370-2A20-8B51-7651E5CB1603}"/>
            </a:ext>
          </a:extLst>
        </cdr:cNvPr>
        <cdr:cNvSpPr txBox="1"/>
      </cdr:nvSpPr>
      <cdr:spPr>
        <a:xfrm xmlns:a="http://schemas.openxmlformats.org/drawingml/2006/main">
          <a:off x="6317559" y="4049403"/>
          <a:ext cx="731158" cy="246221"/>
        </a:xfrm>
        <a:prstGeom xmlns:a="http://schemas.openxmlformats.org/drawingml/2006/main" prst="rect">
          <a:avLst/>
        </a:prstGeom>
        <a:solidFill xmlns:a="http://schemas.openxmlformats.org/drawingml/2006/main">
          <a:srgbClr val="FFFFFF"/>
        </a:solidFill>
      </cdr:spPr>
      <cdr:txBody>
        <a:bodyPr xmlns:a="http://schemas.openxmlformats.org/drawingml/2006/main" vertOverflow="clip" wrap="square" rtlCol="0">
          <a:spAutoFit/>
        </a:bodyPr>
        <a:lstStyle xmlns:a="http://schemas.openxmlformats.org/drawingml/2006/main"/>
        <a:p xmlns:a="http://schemas.openxmlformats.org/drawingml/2006/main">
          <a:pPr marL="0" indent="0">
            <a:buClr>
              <a:schemeClr val="accent2"/>
            </a:buClr>
            <a:buFont typeface="Wingdings" pitchFamily="2" charset="2"/>
            <a:buNone/>
          </a:pPr>
          <a:endParaRPr lang="en-US" sz="10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89939" cy="496333"/>
          </a:xfrm>
          <a:prstGeom prst="rect">
            <a:avLst/>
          </a:prstGeom>
        </p:spPr>
        <p:txBody>
          <a:bodyPr vert="horz" lIns="91815" tIns="45907" rIns="91815" bIns="45907" rtlCol="0"/>
          <a:lstStyle>
            <a:lvl1pPr algn="l">
              <a:defRPr sz="1200"/>
            </a:lvl1pPr>
          </a:lstStyle>
          <a:p>
            <a:endParaRPr lang="nb-NO"/>
          </a:p>
        </p:txBody>
      </p:sp>
      <p:sp>
        <p:nvSpPr>
          <p:cNvPr id="3" name="Date Placeholder 2"/>
          <p:cNvSpPr>
            <a:spLocks noGrp="1"/>
          </p:cNvSpPr>
          <p:nvPr>
            <p:ph type="dt" sz="quarter" idx="1"/>
          </p:nvPr>
        </p:nvSpPr>
        <p:spPr>
          <a:xfrm>
            <a:off x="3777607" y="0"/>
            <a:ext cx="2889939" cy="496333"/>
          </a:xfrm>
          <a:prstGeom prst="rect">
            <a:avLst/>
          </a:prstGeom>
        </p:spPr>
        <p:txBody>
          <a:bodyPr vert="horz" lIns="91815" tIns="45907" rIns="91815" bIns="45907" rtlCol="0"/>
          <a:lstStyle>
            <a:lvl1pPr algn="r">
              <a:defRPr sz="1200"/>
            </a:lvl1pPr>
          </a:lstStyle>
          <a:p>
            <a:fld id="{54FF9D6F-37AD-4FEC-912F-024667080000}" type="datetimeFigureOut">
              <a:rPr lang="nb-NO" smtClean="0"/>
              <a:pPr/>
              <a:t>13.06.2023</a:t>
            </a:fld>
            <a:endParaRPr lang="nb-NO"/>
          </a:p>
        </p:txBody>
      </p:sp>
      <p:sp>
        <p:nvSpPr>
          <p:cNvPr id="4" name="Footer Placeholder 3"/>
          <p:cNvSpPr>
            <a:spLocks noGrp="1"/>
          </p:cNvSpPr>
          <p:nvPr>
            <p:ph type="ftr" sz="quarter" idx="2"/>
          </p:nvPr>
        </p:nvSpPr>
        <p:spPr>
          <a:xfrm>
            <a:off x="1" y="9428583"/>
            <a:ext cx="2889939" cy="496333"/>
          </a:xfrm>
          <a:prstGeom prst="rect">
            <a:avLst/>
          </a:prstGeom>
        </p:spPr>
        <p:txBody>
          <a:bodyPr vert="horz" lIns="91815" tIns="45907" rIns="91815" bIns="45907" rtlCol="0" anchor="b"/>
          <a:lstStyle>
            <a:lvl1pPr algn="l">
              <a:defRPr sz="1200"/>
            </a:lvl1pPr>
          </a:lstStyle>
          <a:p>
            <a:endParaRPr lang="nb-NO"/>
          </a:p>
        </p:txBody>
      </p:sp>
      <p:sp>
        <p:nvSpPr>
          <p:cNvPr id="5" name="Slide Number Placeholder 4"/>
          <p:cNvSpPr>
            <a:spLocks noGrp="1"/>
          </p:cNvSpPr>
          <p:nvPr>
            <p:ph type="sldNum" sz="quarter" idx="3"/>
          </p:nvPr>
        </p:nvSpPr>
        <p:spPr>
          <a:xfrm>
            <a:off x="3777607" y="9428583"/>
            <a:ext cx="2889939" cy="496333"/>
          </a:xfrm>
          <a:prstGeom prst="rect">
            <a:avLst/>
          </a:prstGeom>
        </p:spPr>
        <p:txBody>
          <a:bodyPr vert="horz" lIns="91815" tIns="45907" rIns="91815" bIns="45907" rtlCol="0" anchor="b"/>
          <a:lstStyle>
            <a:lvl1pPr algn="r">
              <a:defRPr sz="1200"/>
            </a:lvl1pPr>
          </a:lstStyle>
          <a:p>
            <a:fld id="{EE95C0A4-A254-4A12-BB22-AA5A82E3023F}" type="slidenum">
              <a:rPr lang="nb-NO" smtClean="0"/>
              <a:pPr/>
              <a:t>‹#›</a:t>
            </a:fld>
            <a:endParaRPr lang="nb-NO"/>
          </a:p>
        </p:txBody>
      </p:sp>
    </p:spTree>
    <p:extLst>
      <p:ext uri="{BB962C8B-B14F-4D97-AF65-F5344CB8AC3E}">
        <p14:creationId xmlns:p14="http://schemas.microsoft.com/office/powerpoint/2010/main" val="39717008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89939" cy="496333"/>
          </a:xfrm>
          <a:prstGeom prst="rect">
            <a:avLst/>
          </a:prstGeom>
        </p:spPr>
        <p:txBody>
          <a:bodyPr vert="horz" lIns="91815" tIns="45907" rIns="91815" bIns="45907" rtlCol="0"/>
          <a:lstStyle>
            <a:lvl1pPr algn="l">
              <a:defRPr sz="1200"/>
            </a:lvl1pPr>
          </a:lstStyle>
          <a:p>
            <a:endParaRPr lang="nb-NO"/>
          </a:p>
        </p:txBody>
      </p:sp>
      <p:sp>
        <p:nvSpPr>
          <p:cNvPr id="3" name="Date Placeholder 2"/>
          <p:cNvSpPr>
            <a:spLocks noGrp="1"/>
          </p:cNvSpPr>
          <p:nvPr>
            <p:ph type="dt" idx="1"/>
          </p:nvPr>
        </p:nvSpPr>
        <p:spPr>
          <a:xfrm>
            <a:off x="3777607" y="0"/>
            <a:ext cx="2889939" cy="496333"/>
          </a:xfrm>
          <a:prstGeom prst="rect">
            <a:avLst/>
          </a:prstGeom>
        </p:spPr>
        <p:txBody>
          <a:bodyPr vert="horz" lIns="91815" tIns="45907" rIns="91815" bIns="45907" rtlCol="0"/>
          <a:lstStyle>
            <a:lvl1pPr algn="r">
              <a:defRPr sz="1200"/>
            </a:lvl1pPr>
          </a:lstStyle>
          <a:p>
            <a:fld id="{219105CE-6DD1-424C-8A39-16053790385C}" type="datetimeFigureOut">
              <a:rPr lang="nb-NO" smtClean="0"/>
              <a:pPr/>
              <a:t>13.06.2023</a:t>
            </a:fld>
            <a:endParaRPr lang="nb-NO"/>
          </a:p>
        </p:txBody>
      </p:sp>
      <p:sp>
        <p:nvSpPr>
          <p:cNvPr id="4" name="Slide Image Placeholder 3"/>
          <p:cNvSpPr>
            <a:spLocks noGrp="1" noRot="1" noChangeAspect="1"/>
          </p:cNvSpPr>
          <p:nvPr>
            <p:ph type="sldImg" idx="2"/>
          </p:nvPr>
        </p:nvSpPr>
        <p:spPr>
          <a:xfrm>
            <a:off x="26988" y="744538"/>
            <a:ext cx="6615112" cy="3722687"/>
          </a:xfrm>
          <a:prstGeom prst="rect">
            <a:avLst/>
          </a:prstGeom>
          <a:noFill/>
          <a:ln w="12700">
            <a:solidFill>
              <a:prstClr val="black"/>
            </a:solidFill>
          </a:ln>
        </p:spPr>
        <p:txBody>
          <a:bodyPr vert="horz" lIns="91815" tIns="45907" rIns="91815" bIns="45907" rtlCol="0" anchor="ctr"/>
          <a:lstStyle/>
          <a:p>
            <a:endParaRPr lang="nb-NO"/>
          </a:p>
        </p:txBody>
      </p:sp>
      <p:sp>
        <p:nvSpPr>
          <p:cNvPr id="5" name="Notes Placeholder 4"/>
          <p:cNvSpPr>
            <a:spLocks noGrp="1"/>
          </p:cNvSpPr>
          <p:nvPr>
            <p:ph type="body" sz="quarter" idx="3"/>
          </p:nvPr>
        </p:nvSpPr>
        <p:spPr>
          <a:xfrm>
            <a:off x="666909" y="4715156"/>
            <a:ext cx="5335270" cy="4466988"/>
          </a:xfrm>
          <a:prstGeom prst="rect">
            <a:avLst/>
          </a:prstGeom>
        </p:spPr>
        <p:txBody>
          <a:bodyPr vert="horz" lIns="91815" tIns="45907" rIns="91815" bIns="4590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1" y="9428583"/>
            <a:ext cx="2889939" cy="496333"/>
          </a:xfrm>
          <a:prstGeom prst="rect">
            <a:avLst/>
          </a:prstGeom>
        </p:spPr>
        <p:txBody>
          <a:bodyPr vert="horz" lIns="91815" tIns="45907" rIns="91815" bIns="45907" rtlCol="0" anchor="b"/>
          <a:lstStyle>
            <a:lvl1pPr algn="l">
              <a:defRPr sz="1200"/>
            </a:lvl1pPr>
          </a:lstStyle>
          <a:p>
            <a:endParaRPr lang="nb-NO"/>
          </a:p>
        </p:txBody>
      </p:sp>
      <p:sp>
        <p:nvSpPr>
          <p:cNvPr id="7" name="Slide Number Placeholder 6"/>
          <p:cNvSpPr>
            <a:spLocks noGrp="1"/>
          </p:cNvSpPr>
          <p:nvPr>
            <p:ph type="sldNum" sz="quarter" idx="5"/>
          </p:nvPr>
        </p:nvSpPr>
        <p:spPr>
          <a:xfrm>
            <a:off x="3777607" y="9428583"/>
            <a:ext cx="2889939" cy="496333"/>
          </a:xfrm>
          <a:prstGeom prst="rect">
            <a:avLst/>
          </a:prstGeom>
        </p:spPr>
        <p:txBody>
          <a:bodyPr vert="horz" lIns="91815" tIns="45907" rIns="91815" bIns="45907" rtlCol="0" anchor="b"/>
          <a:lstStyle>
            <a:lvl1pPr algn="r">
              <a:defRPr sz="1200"/>
            </a:lvl1pPr>
          </a:lstStyle>
          <a:p>
            <a:fld id="{F2AFDAA6-9D88-492E-A5D4-57E37448C529}" type="slidenum">
              <a:rPr lang="nb-NO" smtClean="0"/>
              <a:pPr/>
              <a:t>‹#›</a:t>
            </a:fld>
            <a:endParaRPr lang="nb-NO"/>
          </a:p>
        </p:txBody>
      </p:sp>
    </p:spTree>
    <p:extLst>
      <p:ext uri="{BB962C8B-B14F-4D97-AF65-F5344CB8AC3E}">
        <p14:creationId xmlns:p14="http://schemas.microsoft.com/office/powerpoint/2010/main" val="1983365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tradingeconomics.com/commodity/carbo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8" y="744538"/>
            <a:ext cx="6615112" cy="3722687"/>
          </a:xfrm>
        </p:spPr>
      </p:sp>
      <p:sp>
        <p:nvSpPr>
          <p:cNvPr id="4" name="Slide Number Placeholder 3"/>
          <p:cNvSpPr>
            <a:spLocks noGrp="1"/>
          </p:cNvSpPr>
          <p:nvPr>
            <p:ph type="sldNum" sz="quarter" idx="10"/>
          </p:nvPr>
        </p:nvSpPr>
        <p:spPr/>
        <p:txBody>
          <a:bodyPr/>
          <a:lstStyle/>
          <a:p>
            <a:fld id="{F2AFDAA6-9D88-492E-A5D4-57E37448C529}" type="slidenum">
              <a:rPr lang="nb-NO" smtClean="0"/>
              <a:pPr/>
              <a:t>1</a:t>
            </a:fld>
            <a:endParaRPr lang="nb-NO"/>
          </a:p>
        </p:txBody>
      </p:sp>
      <p:sp>
        <p:nvSpPr>
          <p:cNvPr id="6" name="Notes Placeholder 5">
            <a:extLst>
              <a:ext uri="{FF2B5EF4-FFF2-40B4-BE49-F238E27FC236}">
                <a16:creationId xmlns:a16="http://schemas.microsoft.com/office/drawing/2014/main" id="{8706FEFC-D529-9BED-F19B-B07EFF883664}"/>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914017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10</a:t>
            </a:fld>
            <a:endParaRPr lang="nb-NO"/>
          </a:p>
        </p:txBody>
      </p:sp>
    </p:spTree>
    <p:extLst>
      <p:ext uri="{BB962C8B-B14F-4D97-AF65-F5344CB8AC3E}">
        <p14:creationId xmlns:p14="http://schemas.microsoft.com/office/powerpoint/2010/main" val="4537133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11</a:t>
            </a:fld>
            <a:endParaRPr lang="nb-NO"/>
          </a:p>
        </p:txBody>
      </p:sp>
    </p:spTree>
    <p:extLst>
      <p:ext uri="{BB962C8B-B14F-4D97-AF65-F5344CB8AC3E}">
        <p14:creationId xmlns:p14="http://schemas.microsoft.com/office/powerpoint/2010/main" val="6552266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F2AFDAA6-9D88-492E-A5D4-57E37448C529}" type="slidenum">
              <a:rPr lang="nb-NO" smtClean="0"/>
              <a:pPr/>
              <a:t>12</a:t>
            </a:fld>
            <a:endParaRPr lang="nb-NO"/>
          </a:p>
        </p:txBody>
      </p:sp>
      <p:sp>
        <p:nvSpPr>
          <p:cNvPr id="6" name="Notes Placeholder 5">
            <a:extLst>
              <a:ext uri="{FF2B5EF4-FFF2-40B4-BE49-F238E27FC236}">
                <a16:creationId xmlns:a16="http://schemas.microsoft.com/office/drawing/2014/main" id="{1DAB6D61-7768-C684-4F25-7595963D679C}"/>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6374493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13</a:t>
            </a:fld>
            <a:endParaRPr lang="nb-NO"/>
          </a:p>
        </p:txBody>
      </p:sp>
    </p:spTree>
    <p:extLst>
      <p:ext uri="{BB962C8B-B14F-4D97-AF65-F5344CB8AC3E}">
        <p14:creationId xmlns:p14="http://schemas.microsoft.com/office/powerpoint/2010/main" val="35551474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14</a:t>
            </a:fld>
            <a:endParaRPr lang="nb-NO"/>
          </a:p>
        </p:txBody>
      </p:sp>
    </p:spTree>
    <p:extLst>
      <p:ext uri="{BB962C8B-B14F-4D97-AF65-F5344CB8AC3E}">
        <p14:creationId xmlns:p14="http://schemas.microsoft.com/office/powerpoint/2010/main" val="915457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AFDAA6-9D88-492E-A5D4-57E37448C529}" type="slidenum">
              <a:rPr lang="nb-NO" smtClean="0"/>
              <a:pPr/>
              <a:t>15</a:t>
            </a:fld>
            <a:endParaRPr lang="nb-NO"/>
          </a:p>
        </p:txBody>
      </p:sp>
    </p:spTree>
    <p:extLst>
      <p:ext uri="{BB962C8B-B14F-4D97-AF65-F5344CB8AC3E}">
        <p14:creationId xmlns:p14="http://schemas.microsoft.com/office/powerpoint/2010/main" val="3180015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F2AFDAA6-9D88-492E-A5D4-57E37448C529}" type="slidenum">
              <a:rPr lang="nb-NO" smtClean="0"/>
              <a:pPr/>
              <a:t>16</a:t>
            </a:fld>
            <a:endParaRPr lang="nb-NO"/>
          </a:p>
        </p:txBody>
      </p:sp>
    </p:spTree>
    <p:extLst>
      <p:ext uri="{BB962C8B-B14F-4D97-AF65-F5344CB8AC3E}">
        <p14:creationId xmlns:p14="http://schemas.microsoft.com/office/powerpoint/2010/main" val="4503375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17</a:t>
            </a:fld>
            <a:endParaRPr lang="nb-NO"/>
          </a:p>
        </p:txBody>
      </p:sp>
    </p:spTree>
    <p:extLst>
      <p:ext uri="{BB962C8B-B14F-4D97-AF65-F5344CB8AC3E}">
        <p14:creationId xmlns:p14="http://schemas.microsoft.com/office/powerpoint/2010/main" val="28608971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AFDAA6-9D88-492E-A5D4-57E37448C529}" type="slidenum">
              <a:rPr lang="nb-NO" smtClean="0"/>
              <a:pPr/>
              <a:t>18</a:t>
            </a:fld>
            <a:endParaRPr lang="nb-NO"/>
          </a:p>
        </p:txBody>
      </p:sp>
    </p:spTree>
    <p:extLst>
      <p:ext uri="{BB962C8B-B14F-4D97-AF65-F5344CB8AC3E}">
        <p14:creationId xmlns:p14="http://schemas.microsoft.com/office/powerpoint/2010/main" val="24600153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19</a:t>
            </a:fld>
            <a:endParaRPr lang="nb-NO"/>
          </a:p>
        </p:txBody>
      </p:sp>
    </p:spTree>
    <p:extLst>
      <p:ext uri="{BB962C8B-B14F-4D97-AF65-F5344CB8AC3E}">
        <p14:creationId xmlns:p14="http://schemas.microsoft.com/office/powerpoint/2010/main" val="5162258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F2AFDAA6-9D88-492E-A5D4-57E37448C529}" type="slidenum">
              <a:rPr lang="nb-NO" smtClean="0"/>
              <a:pPr/>
              <a:t>2</a:t>
            </a:fld>
            <a:endParaRPr lang="nb-NO"/>
          </a:p>
        </p:txBody>
      </p:sp>
      <p:sp>
        <p:nvSpPr>
          <p:cNvPr id="6" name="Notes Placeholder 5">
            <a:extLst>
              <a:ext uri="{FF2B5EF4-FFF2-40B4-BE49-F238E27FC236}">
                <a16:creationId xmlns:a16="http://schemas.microsoft.com/office/drawing/2014/main" id="{49002C8C-2579-6BFF-F66D-BA4CC90D7A6C}"/>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0271116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AFDAA6-9D88-492E-A5D4-57E37448C529}" type="slidenum">
              <a:rPr lang="nb-NO" smtClean="0"/>
              <a:pPr/>
              <a:t>20</a:t>
            </a:fld>
            <a:endParaRPr lang="nb-NO"/>
          </a:p>
        </p:txBody>
      </p:sp>
    </p:spTree>
    <p:extLst>
      <p:ext uri="{BB962C8B-B14F-4D97-AF65-F5344CB8AC3E}">
        <p14:creationId xmlns:p14="http://schemas.microsoft.com/office/powerpoint/2010/main" val="33434111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21</a:t>
            </a:fld>
            <a:endParaRPr lang="nb-NO"/>
          </a:p>
        </p:txBody>
      </p:sp>
    </p:spTree>
    <p:extLst>
      <p:ext uri="{BB962C8B-B14F-4D97-AF65-F5344CB8AC3E}">
        <p14:creationId xmlns:p14="http://schemas.microsoft.com/office/powerpoint/2010/main" val="39582310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BB050A1E-8881-43FF-9913-82C3D6E5E74D}" type="slidenum">
              <a:rPr lang="nb-NO" smtClean="0"/>
              <a:pPr/>
              <a:t>22</a:t>
            </a:fld>
            <a:endParaRPr lang="nb-NO"/>
          </a:p>
        </p:txBody>
      </p:sp>
    </p:spTree>
    <p:extLst>
      <p:ext uri="{BB962C8B-B14F-4D97-AF65-F5344CB8AC3E}">
        <p14:creationId xmlns:p14="http://schemas.microsoft.com/office/powerpoint/2010/main" val="19051821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AFDAA6-9D88-492E-A5D4-57E37448C529}" type="slidenum">
              <a:rPr lang="nb-NO" smtClean="0"/>
              <a:pPr/>
              <a:t>23</a:t>
            </a:fld>
            <a:endParaRPr lang="nb-NO"/>
          </a:p>
        </p:txBody>
      </p:sp>
    </p:spTree>
    <p:extLst>
      <p:ext uri="{BB962C8B-B14F-4D97-AF65-F5344CB8AC3E}">
        <p14:creationId xmlns:p14="http://schemas.microsoft.com/office/powerpoint/2010/main" val="91564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24</a:t>
            </a:fld>
            <a:endParaRPr lang="nb-NO"/>
          </a:p>
        </p:txBody>
      </p:sp>
    </p:spTree>
    <p:extLst>
      <p:ext uri="{BB962C8B-B14F-4D97-AF65-F5344CB8AC3E}">
        <p14:creationId xmlns:p14="http://schemas.microsoft.com/office/powerpoint/2010/main" val="34978670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26988" y="738188"/>
            <a:ext cx="6638925" cy="3735387"/>
          </a:xfrm>
        </p:spPr>
      </p:sp>
      <p:sp>
        <p:nvSpPr>
          <p:cNvPr id="4" name="Plassholder for lysbildenummer 3"/>
          <p:cNvSpPr>
            <a:spLocks noGrp="1"/>
          </p:cNvSpPr>
          <p:nvPr>
            <p:ph type="sldNum" sz="quarter" idx="10"/>
          </p:nvPr>
        </p:nvSpPr>
        <p:spPr/>
        <p:txBody>
          <a:bodyPr/>
          <a:lstStyle/>
          <a:p>
            <a:fld id="{DB2F3B07-5A04-864D-B46C-11CA81CFCF23}" type="slidenum">
              <a:rPr lang="nb-NO" smtClean="0"/>
              <a:pPr/>
              <a:t>25</a:t>
            </a:fld>
            <a:endParaRPr lang="nb-NO"/>
          </a:p>
        </p:txBody>
      </p:sp>
    </p:spTree>
    <p:extLst>
      <p:ext uri="{BB962C8B-B14F-4D97-AF65-F5344CB8AC3E}">
        <p14:creationId xmlns:p14="http://schemas.microsoft.com/office/powerpoint/2010/main" val="1740386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AFDAA6-9D88-492E-A5D4-57E37448C529}" type="slidenum">
              <a:rPr lang="nb-NO" smtClean="0"/>
              <a:pPr/>
              <a:t>3</a:t>
            </a:fld>
            <a:endParaRPr lang="nb-NO"/>
          </a:p>
        </p:txBody>
      </p:sp>
    </p:spTree>
    <p:extLst>
      <p:ext uri="{BB962C8B-B14F-4D97-AF65-F5344CB8AC3E}">
        <p14:creationId xmlns:p14="http://schemas.microsoft.com/office/powerpoint/2010/main" val="1573158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F2AFDAA6-9D88-492E-A5D4-57E37448C529}" type="slidenum">
              <a:rPr lang="nb-NO" smtClean="0"/>
              <a:pPr/>
              <a:t>4</a:t>
            </a:fld>
            <a:endParaRPr lang="nb-NO"/>
          </a:p>
        </p:txBody>
      </p:sp>
      <p:sp>
        <p:nvSpPr>
          <p:cNvPr id="6" name="Notes Placeholder 5">
            <a:extLst>
              <a:ext uri="{FF2B5EF4-FFF2-40B4-BE49-F238E27FC236}">
                <a16:creationId xmlns:a16="http://schemas.microsoft.com/office/drawing/2014/main" id="{46F84A3C-2915-E826-6BE0-2457073C850A}"/>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16414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F2AFDAA6-9D88-492E-A5D4-57E37448C529}" type="slidenum">
              <a:rPr lang="nb-NO" smtClean="0"/>
              <a:pPr/>
              <a:t>5</a:t>
            </a:fld>
            <a:endParaRPr lang="nb-NO"/>
          </a:p>
        </p:txBody>
      </p:sp>
      <p:sp>
        <p:nvSpPr>
          <p:cNvPr id="6" name="Notes Placeholder 5">
            <a:extLst>
              <a:ext uri="{FF2B5EF4-FFF2-40B4-BE49-F238E27FC236}">
                <a16:creationId xmlns:a16="http://schemas.microsoft.com/office/drawing/2014/main" id="{093E00B3-BEEB-5D88-A7C7-EEDCABB205FC}"/>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3485207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EU Carbon Permits - 2023 Data - 2005-2022 Historical - 2024 Forecast - Price - Quote (tradingeconomics.com)</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6</a:t>
            </a:fld>
            <a:endParaRPr lang="nb-NO"/>
          </a:p>
        </p:txBody>
      </p:sp>
    </p:spTree>
    <p:extLst>
      <p:ext uri="{BB962C8B-B14F-4D97-AF65-F5344CB8AC3E}">
        <p14:creationId xmlns:p14="http://schemas.microsoft.com/office/powerpoint/2010/main" val="684398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7</a:t>
            </a:fld>
            <a:endParaRPr lang="nb-NO"/>
          </a:p>
        </p:txBody>
      </p:sp>
    </p:spTree>
    <p:extLst>
      <p:ext uri="{BB962C8B-B14F-4D97-AF65-F5344CB8AC3E}">
        <p14:creationId xmlns:p14="http://schemas.microsoft.com/office/powerpoint/2010/main" val="208072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8</a:t>
            </a:fld>
            <a:endParaRPr lang="nb-NO"/>
          </a:p>
        </p:txBody>
      </p:sp>
    </p:spTree>
    <p:extLst>
      <p:ext uri="{BB962C8B-B14F-4D97-AF65-F5344CB8AC3E}">
        <p14:creationId xmlns:p14="http://schemas.microsoft.com/office/powerpoint/2010/main" val="22371131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2AFDAA6-9D88-492E-A5D4-57E37448C529}" type="slidenum">
              <a:rPr lang="nb-NO" smtClean="0"/>
              <a:pPr/>
              <a:t>9</a:t>
            </a:fld>
            <a:endParaRPr lang="nb-NO"/>
          </a:p>
        </p:txBody>
      </p:sp>
    </p:spTree>
    <p:extLst>
      <p:ext uri="{BB962C8B-B14F-4D97-AF65-F5344CB8AC3E}">
        <p14:creationId xmlns:p14="http://schemas.microsoft.com/office/powerpoint/2010/main" val="32814280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p:grpSpPr>
      <p:pic>
        <p:nvPicPr>
          <p:cNvPr id="6" name="Bilde 3" descr="EXTENDED_PPT_TOP.png"/>
          <p:cNvPicPr>
            <a:picLocks noChangeAspect="1"/>
          </p:cNvPicPr>
          <p:nvPr/>
        </p:nvPicPr>
        <p:blipFill rotWithShape="1">
          <a:blip r:embed="rId2" cstate="print">
            <a:extLst>
              <a:ext uri="{28A0092B-C50C-407E-A947-70E740481C1C}">
                <a14:useLocalDpi xmlns:a14="http://schemas.microsoft.com/office/drawing/2010/main" val="0"/>
              </a:ext>
            </a:extLst>
          </a:blip>
          <a:srcRect t="193"/>
          <a:stretch/>
        </p:blipFill>
        <p:spPr>
          <a:xfrm>
            <a:off x="6540716" y="0"/>
            <a:ext cx="2152357" cy="5133590"/>
          </a:xfrm>
          <a:prstGeom prst="rect">
            <a:avLst/>
          </a:prstGeom>
        </p:spPr>
      </p:pic>
      <p:sp>
        <p:nvSpPr>
          <p:cNvPr id="2" name="Title 1"/>
          <p:cNvSpPr>
            <a:spLocks noGrp="1"/>
          </p:cNvSpPr>
          <p:nvPr>
            <p:ph type="ctrTitle"/>
          </p:nvPr>
        </p:nvSpPr>
        <p:spPr>
          <a:xfrm>
            <a:off x="864210" y="1653780"/>
            <a:ext cx="5680412" cy="811913"/>
          </a:xfrm>
        </p:spPr>
        <p:txBody>
          <a:bodyPr anchor="b" anchorCtr="0">
            <a:noAutofit/>
          </a:bodyPr>
          <a:lstStyle>
            <a:lvl1pPr algn="l">
              <a:defRPr sz="3600">
                <a:solidFill>
                  <a:schemeClr val="accent2"/>
                </a:solidFill>
              </a:defRPr>
            </a:lvl1pPr>
          </a:lstStyle>
          <a:p>
            <a:r>
              <a:rPr lang="en-US"/>
              <a:t>Click to edit Master title style</a:t>
            </a:r>
            <a:endParaRPr lang="en-GB" dirty="0"/>
          </a:p>
        </p:txBody>
      </p:sp>
      <p:sp>
        <p:nvSpPr>
          <p:cNvPr id="3" name="Subtitle 2"/>
          <p:cNvSpPr>
            <a:spLocks noGrp="1"/>
          </p:cNvSpPr>
          <p:nvPr>
            <p:ph type="subTitle" idx="1"/>
          </p:nvPr>
        </p:nvSpPr>
        <p:spPr>
          <a:xfrm>
            <a:off x="873125" y="2517744"/>
            <a:ext cx="6311656" cy="1314450"/>
          </a:xfrm>
        </p:spPr>
        <p:txBody>
          <a:bodyPr>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37634241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spalter">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50549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0" name="Text Placeholder 9"/>
          <p:cNvSpPr>
            <a:spLocks noGrp="1"/>
          </p:cNvSpPr>
          <p:nvPr>
            <p:ph type="body" sz="quarter" idx="13"/>
          </p:nvPr>
        </p:nvSpPr>
        <p:spPr>
          <a:xfrm>
            <a:off x="252046" y="789386"/>
            <a:ext cx="8639908" cy="3673078"/>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7" name="Rectangle 6"/>
          <p:cNvSpPr/>
          <p:nvPr userDrawn="1"/>
        </p:nvSpPr>
        <p:spPr>
          <a:xfrm>
            <a:off x="118583" y="4676797"/>
            <a:ext cx="7112175" cy="369332"/>
          </a:xfrm>
          <a:prstGeom prst="rect">
            <a:avLst/>
          </a:prstGeom>
        </p:spPr>
        <p:txBody>
          <a:bodyPr wrap="square">
            <a:spAutoFit/>
          </a:bodyPr>
          <a:lstStyle/>
          <a:p>
            <a:pPr>
              <a:spcBef>
                <a:spcPts val="0"/>
              </a:spcBef>
            </a:pPr>
            <a:r>
              <a:rPr lang="en-GB" sz="600" dirty="0">
                <a:solidFill>
                  <a:srgbClr val="000000"/>
                </a:solidFill>
              </a:rPr>
              <a:t>Analysts: Alexander Aukner (+47 </a:t>
            </a:r>
            <a:r>
              <a:rPr lang="en-GB" sz="600" baseline="0" dirty="0">
                <a:solidFill>
                  <a:srgbClr val="000000"/>
                </a:solidFill>
              </a:rPr>
              <a:t> 24 16  90 79; </a:t>
            </a:r>
            <a:r>
              <a:rPr lang="en-GB" sz="600" dirty="0">
                <a:solidFill>
                  <a:srgbClr val="000000"/>
                </a:solidFill>
              </a:rPr>
              <a:t>alexander.aukner@dnb.no) ; Tone B. </a:t>
            </a:r>
            <a:r>
              <a:rPr lang="en-GB" sz="600" dirty="0" err="1">
                <a:solidFill>
                  <a:srgbClr val="000000"/>
                </a:solidFill>
              </a:rPr>
              <a:t>Hanstad</a:t>
            </a:r>
            <a:r>
              <a:rPr lang="en-GB" sz="600" dirty="0">
                <a:solidFill>
                  <a:srgbClr val="000000"/>
                </a:solidFill>
              </a:rPr>
              <a:t> (+47 41 62 94 46;</a:t>
            </a:r>
            <a:r>
              <a:rPr lang="en-GB" sz="600" baseline="0" dirty="0">
                <a:solidFill>
                  <a:srgbClr val="000000"/>
                </a:solidFill>
              </a:rPr>
              <a:t> tone.bjornstad.hanstad@dnb.no)</a:t>
            </a:r>
            <a:endParaRPr lang="en-GB" sz="600" dirty="0">
              <a:solidFill>
                <a:srgbClr val="000000"/>
              </a:solidFill>
            </a:endParaRPr>
          </a:p>
          <a:p>
            <a:pPr>
              <a:spcBef>
                <a:spcPts val="0"/>
              </a:spcBef>
            </a:pPr>
            <a:br>
              <a:rPr lang="en-GB" sz="600" dirty="0">
                <a:solidFill>
                  <a:srgbClr val="000000"/>
                </a:solidFill>
              </a:rPr>
            </a:br>
            <a:endParaRPr lang="en-GB" sz="600" dirty="0">
              <a:solidFill>
                <a:srgbClr val="000000"/>
              </a:solidFill>
            </a:endParaRPr>
          </a:p>
        </p:txBody>
      </p:sp>
      <p:sp>
        <p:nvSpPr>
          <p:cNvPr id="4" name="Title 3"/>
          <p:cNvSpPr>
            <a:spLocks noGrp="1"/>
          </p:cNvSpPr>
          <p:nvPr>
            <p:ph type="title"/>
          </p:nvPr>
        </p:nvSpPr>
        <p:spPr/>
        <p:txBody>
          <a:bodyPr/>
          <a:lstStyle/>
          <a:p>
            <a:r>
              <a:rPr lang="en-US" dirty="0"/>
              <a:t>Click to edit Master title style</a:t>
            </a:r>
            <a:endParaRPr lang="nb-NO" dirty="0"/>
          </a:p>
        </p:txBody>
      </p:sp>
      <p:sp>
        <p:nvSpPr>
          <p:cNvPr id="8" name="TextBox 7"/>
          <p:cNvSpPr txBox="1"/>
          <p:nvPr userDrawn="1"/>
        </p:nvSpPr>
        <p:spPr>
          <a:xfrm>
            <a:off x="6367097" y="87475"/>
            <a:ext cx="2458914" cy="246221"/>
          </a:xfrm>
          <a:prstGeom prst="rect">
            <a:avLst/>
          </a:prstGeom>
          <a:noFill/>
        </p:spPr>
        <p:txBody>
          <a:bodyPr wrap="square" rtlCol="0">
            <a:spAutoFit/>
          </a:bodyPr>
          <a:lstStyle/>
          <a:p>
            <a:pPr marL="0" indent="0">
              <a:buClr>
                <a:schemeClr val="accent2"/>
              </a:buClr>
              <a:buFont typeface="Wingdings" pitchFamily="2" charset="2"/>
              <a:buNone/>
            </a:pPr>
            <a:r>
              <a:rPr lang="en-US" sz="1000" dirty="0">
                <a:solidFill>
                  <a:schemeClr val="accent1"/>
                </a:solidFill>
              </a:rPr>
              <a:t>Seafood</a:t>
            </a:r>
            <a:r>
              <a:rPr lang="en-US" sz="1000" baseline="0" dirty="0">
                <a:solidFill>
                  <a:schemeClr val="accent1"/>
                </a:solidFill>
              </a:rPr>
              <a:t> weekly </a:t>
            </a:r>
            <a:fld id="{CBF8A2EA-CF00-4EF6-8C98-2AC94F9087F1}" type="datetime3">
              <a:rPr lang="en-US" sz="1000" smtClean="0">
                <a:solidFill>
                  <a:schemeClr val="accent1"/>
                </a:solidFill>
              </a:rPr>
              <a:t>13 June 2023</a:t>
            </a:fld>
            <a:endParaRPr lang="nb-NO" sz="1000" dirty="0">
              <a:solidFill>
                <a:schemeClr val="accent1"/>
              </a:solidFill>
            </a:endParaRPr>
          </a:p>
        </p:txBody>
      </p:sp>
    </p:spTree>
    <p:extLst>
      <p:ext uri="{BB962C8B-B14F-4D97-AF65-F5344CB8AC3E}">
        <p14:creationId xmlns:p14="http://schemas.microsoft.com/office/powerpoint/2010/main" val="3216461885"/>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ekst med fargebakgrunn">
    <p:spTree>
      <p:nvGrpSpPr>
        <p:cNvPr id="1" name=""/>
        <p:cNvGrpSpPr/>
        <p:nvPr/>
      </p:nvGrpSpPr>
      <p:grpSpPr>
        <a:xfrm>
          <a:off x="0" y="0"/>
          <a:ext cx="0" cy="0"/>
          <a:chOff x="0" y="0"/>
          <a:chExt cx="0" cy="0"/>
        </a:xfrm>
      </p:grpSpPr>
      <p:sp>
        <p:nvSpPr>
          <p:cNvPr id="9" name="Rektangel 8"/>
          <p:cNvSpPr/>
          <p:nvPr userDrawn="1"/>
        </p:nvSpPr>
        <p:spPr bwMode="auto">
          <a:xfrm>
            <a:off x="0" y="0"/>
            <a:ext cx="9144000" cy="5143500"/>
          </a:xfrm>
          <a:prstGeom prst="rect">
            <a:avLst/>
          </a:prstGeom>
          <a:solidFill>
            <a:srgbClr val="14555A"/>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chemeClr val="accent1"/>
              </a:solidFill>
              <a:effectLst/>
              <a:latin typeface="Segoe UI"/>
              <a:ea typeface="ヒラギノ角ゴ ProN W3" charset="0"/>
              <a:cs typeface="Segoe UI"/>
              <a:sym typeface="Gill Sans" charset="0"/>
            </a:endParaRPr>
          </a:p>
        </p:txBody>
      </p:sp>
      <p:sp>
        <p:nvSpPr>
          <p:cNvPr id="10" name="Plassholder for lysbildenummer 5"/>
          <p:cNvSpPr>
            <a:spLocks noGrp="1"/>
          </p:cNvSpPr>
          <p:nvPr>
            <p:ph type="sldNum" sz="quarter" idx="13"/>
          </p:nvPr>
        </p:nvSpPr>
        <p:spPr>
          <a:xfrm>
            <a:off x="4193958" y="4803998"/>
            <a:ext cx="792088" cy="253770"/>
          </a:xfrm>
          <a:prstGeom prst="rect">
            <a:avLst/>
          </a:prstGeom>
        </p:spPr>
        <p:txBody>
          <a:bodyPr lIns="0" tIns="0" rIns="0" bIns="0"/>
          <a:lstStyle>
            <a:lvl1pPr algn="r">
              <a:defRPr sz="1600" b="0" i="0">
                <a:solidFill>
                  <a:schemeClr val="accent1"/>
                </a:solidFill>
                <a:latin typeface="Segoe UI" charset="0"/>
                <a:ea typeface="Segoe UI" charset="0"/>
                <a:cs typeface="Segoe UI" charset="0"/>
              </a:defRPr>
            </a:lvl1pPr>
          </a:lstStyle>
          <a:p>
            <a:pPr algn="ctr"/>
            <a:fld id="{FB0F92BC-E9B5-8747-84F4-872B61BA0272}" type="slidenum">
              <a:rPr lang="nb-NO" smtClean="0"/>
              <a:pPr algn="ctr"/>
              <a:t>‹#›</a:t>
            </a:fld>
            <a:endParaRPr lang="nb-NO" dirty="0"/>
          </a:p>
        </p:txBody>
      </p:sp>
      <p:sp>
        <p:nvSpPr>
          <p:cNvPr id="13" name="Content Placeholder 2"/>
          <p:cNvSpPr>
            <a:spLocks noGrp="1"/>
          </p:cNvSpPr>
          <p:nvPr>
            <p:ph idx="1"/>
          </p:nvPr>
        </p:nvSpPr>
        <p:spPr>
          <a:xfrm>
            <a:off x="539552" y="1275606"/>
            <a:ext cx="8100900" cy="3384376"/>
          </a:xfrm>
          <a:prstGeom prst="rect">
            <a:avLst/>
          </a:prstGeom>
        </p:spPr>
        <p:txBody>
          <a:bodyPr wrap="square" lIns="0" tIns="0" rIns="0" bIns="0" anchor="t" anchorCtr="0">
            <a:noAutofit/>
          </a:bodyPr>
          <a:lstStyle>
            <a:lvl1pPr marL="216000" indent="-180000">
              <a:lnSpc>
                <a:spcPct val="100000"/>
              </a:lnSpc>
              <a:spcBef>
                <a:spcPts val="600"/>
              </a:spcBef>
              <a:spcAft>
                <a:spcPts val="0"/>
              </a:spcAft>
              <a:buClr>
                <a:schemeClr val="accent2"/>
              </a:buClr>
              <a:buSzPct val="100000"/>
              <a:buFont typeface="Wingdings" charset="2"/>
              <a:buChar char="§"/>
              <a:defRPr sz="1400" baseline="0">
                <a:solidFill>
                  <a:schemeClr val="bg1"/>
                </a:solidFill>
                <a:latin typeface="Segoe UI"/>
              </a:defRPr>
            </a:lvl1pPr>
            <a:lvl2pPr marL="360000" indent="-144000">
              <a:lnSpc>
                <a:spcPct val="100000"/>
              </a:lnSpc>
              <a:spcBef>
                <a:spcPts val="600"/>
              </a:spcBef>
              <a:spcAft>
                <a:spcPts val="0"/>
              </a:spcAft>
              <a:buClr>
                <a:schemeClr val="accent2"/>
              </a:buClr>
              <a:buSzPct val="100000"/>
              <a:buFont typeface="Wingdings" charset="2"/>
              <a:buChar char="§"/>
              <a:defRPr sz="1200">
                <a:solidFill>
                  <a:schemeClr val="bg1"/>
                </a:solidFill>
                <a:latin typeface="Segoe UI"/>
              </a:defRPr>
            </a:lvl2pPr>
            <a:lvl3pPr marL="540000" indent="-144000">
              <a:lnSpc>
                <a:spcPct val="100000"/>
              </a:lnSpc>
              <a:spcBef>
                <a:spcPts val="600"/>
              </a:spcBef>
              <a:spcAft>
                <a:spcPts val="0"/>
              </a:spcAft>
              <a:buClr>
                <a:schemeClr val="accent2"/>
              </a:buClr>
              <a:buSzPct val="100000"/>
              <a:buFont typeface="Wingdings" charset="2"/>
              <a:buChar char="§"/>
              <a:tabLst>
                <a:tab pos="1446558" algn="l"/>
              </a:tabLst>
              <a:defRPr sz="1000">
                <a:solidFill>
                  <a:schemeClr val="bg1"/>
                </a:solidFill>
                <a:latin typeface="Segoe UI"/>
              </a:defRPr>
            </a:lvl3pPr>
            <a:lvl4pPr marL="1768015" indent="-349200">
              <a:lnSpc>
                <a:spcPct val="100000"/>
              </a:lnSpc>
              <a:spcBef>
                <a:spcPts val="1000"/>
              </a:spcBef>
              <a:spcAft>
                <a:spcPts val="0"/>
              </a:spcAft>
              <a:buSzPct val="125000"/>
              <a:buFont typeface="Wingdings" charset="2"/>
              <a:buChar char="§"/>
              <a:defRPr sz="1400"/>
            </a:lvl4pPr>
            <a:lvl5pPr marL="2143049" indent="-349200">
              <a:lnSpc>
                <a:spcPct val="100000"/>
              </a:lnSpc>
              <a:spcBef>
                <a:spcPts val="1000"/>
              </a:spcBef>
              <a:spcAft>
                <a:spcPts val="0"/>
              </a:spcAft>
              <a:buSzPct val="125000"/>
              <a:buFont typeface="Wingdings" charset="2"/>
              <a:buChar char="§"/>
              <a:defRPr sz="1200"/>
            </a:lvl5pPr>
            <a:lvl6pPr>
              <a:defRPr sz="1400"/>
            </a:lvl6pPr>
            <a:lvl7pPr>
              <a:defRPr sz="1400"/>
            </a:lvl7pPr>
            <a:lvl8pPr>
              <a:defRPr sz="1400"/>
            </a:lvl8pPr>
            <a:lvl9pPr>
              <a:defRPr sz="1400"/>
            </a:lvl9pPr>
          </a:lstStyle>
          <a:p>
            <a:pPr lvl="0"/>
            <a:r>
              <a:rPr lang="nb-NO" dirty="0"/>
              <a:t>Klikk for å redigere tekststiler i malen</a:t>
            </a:r>
          </a:p>
          <a:p>
            <a:pPr lvl="1"/>
            <a:r>
              <a:rPr lang="nb-NO" dirty="0"/>
              <a:t>Andre nivå</a:t>
            </a:r>
          </a:p>
          <a:p>
            <a:pPr lvl="2"/>
            <a:r>
              <a:rPr lang="nb-NO" dirty="0"/>
              <a:t>Tredje nivå</a:t>
            </a:r>
          </a:p>
        </p:txBody>
      </p:sp>
      <p:sp>
        <p:nvSpPr>
          <p:cNvPr id="16" name="Tittel 8"/>
          <p:cNvSpPr>
            <a:spLocks noGrp="1"/>
          </p:cNvSpPr>
          <p:nvPr>
            <p:ph type="title"/>
          </p:nvPr>
        </p:nvSpPr>
        <p:spPr>
          <a:xfrm>
            <a:off x="539552" y="411510"/>
            <a:ext cx="8100900" cy="540000"/>
          </a:xfrm>
          <a:prstGeom prst="rect">
            <a:avLst/>
          </a:prstGeom>
        </p:spPr>
        <p:txBody>
          <a:bodyPr lIns="36000" tIns="36000" rIns="36000" bIns="36000" anchor="ctr" anchorCtr="0"/>
          <a:lstStyle>
            <a:lvl1pPr algn="l">
              <a:defRPr sz="4000">
                <a:solidFill>
                  <a:schemeClr val="bg1"/>
                </a:solidFill>
                <a:effectLst/>
                <a:latin typeface="Segoe UI"/>
                <a:cs typeface="Segoe UI"/>
              </a:defRPr>
            </a:lvl1pPr>
          </a:lstStyle>
          <a:p>
            <a:r>
              <a:rPr lang="nb-NO" dirty="0"/>
              <a:t>Klikk for å redigere tittelstil</a:t>
            </a:r>
          </a:p>
        </p:txBody>
      </p:sp>
    </p:spTree>
    <p:extLst>
      <p:ext uri="{BB962C8B-B14F-4D97-AF65-F5344CB8AC3E}">
        <p14:creationId xmlns:p14="http://schemas.microsoft.com/office/powerpoint/2010/main" val="2343789762"/>
      </p:ext>
    </p:extLst>
  </p:cSld>
  <p:clrMapOvr>
    <a:masterClrMapping/>
  </p:clrMapOvr>
  <p:transition spd="med" advClick="0">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spalte">
    <p:spTree>
      <p:nvGrpSpPr>
        <p:cNvPr id="1" name=""/>
        <p:cNvGrpSpPr/>
        <p:nvPr/>
      </p:nvGrpSpPr>
      <p:grpSpPr>
        <a:xfrm>
          <a:off x="0" y="0"/>
          <a:ext cx="0" cy="0"/>
          <a:chOff x="0" y="0"/>
          <a:chExt cx="0" cy="0"/>
        </a:xfrm>
      </p:grpSpPr>
      <p:sp>
        <p:nvSpPr>
          <p:cNvPr id="2" name="Title 1"/>
          <p:cNvSpPr>
            <a:spLocks noGrp="1"/>
          </p:cNvSpPr>
          <p:nvPr>
            <p:ph type="title"/>
          </p:nvPr>
        </p:nvSpPr>
        <p:spPr>
          <a:xfrm>
            <a:off x="873123" y="249159"/>
            <a:ext cx="7875590" cy="702152"/>
          </a:xfrm>
        </p:spPr>
        <p:txBody>
          <a:bodyPr/>
          <a:lstStyle/>
          <a:p>
            <a:r>
              <a:rPr lang="en-US"/>
              <a:t>Click to edit Master title style</a:t>
            </a:r>
            <a:endParaRPr lang="nb-NO" dirty="0"/>
          </a:p>
        </p:txBody>
      </p:sp>
      <p:sp>
        <p:nvSpPr>
          <p:cNvPr id="3" name="Slide Number Placeholder 2"/>
          <p:cNvSpPr>
            <a:spLocks noGrp="1"/>
          </p:cNvSpPr>
          <p:nvPr>
            <p:ph type="sldNum" sz="quarter" idx="16"/>
          </p:nvPr>
        </p:nvSpPr>
        <p:spPr/>
        <p:txBody>
          <a:bodyPr/>
          <a:lstStyle/>
          <a:p>
            <a:fld id="{DE050E36-BA33-43C0-AE7D-FD2A806B7DFE}" type="slidenum">
              <a:rPr lang="nb-NO" smtClean="0"/>
              <a:pPr/>
              <a:t>‹#›</a:t>
            </a:fld>
            <a:endParaRPr lang="nb-NO"/>
          </a:p>
        </p:txBody>
      </p:sp>
      <p:sp>
        <p:nvSpPr>
          <p:cNvPr id="8" name="Text Placeholder 4"/>
          <p:cNvSpPr>
            <a:spLocks noGrp="1"/>
          </p:cNvSpPr>
          <p:nvPr>
            <p:ph type="body" sz="quarter" idx="12"/>
          </p:nvPr>
        </p:nvSpPr>
        <p:spPr>
          <a:xfrm>
            <a:off x="4788464" y="87476"/>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9" name="Text Placeholder 5"/>
          <p:cNvSpPr>
            <a:spLocks noGrp="1"/>
          </p:cNvSpPr>
          <p:nvPr>
            <p:ph type="body" sz="quarter" idx="14"/>
          </p:nvPr>
        </p:nvSpPr>
        <p:spPr>
          <a:xfrm>
            <a:off x="859443" y="4926808"/>
            <a:ext cx="6172552"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5" name="Content Placeholder 4"/>
          <p:cNvSpPr>
            <a:spLocks noGrp="1"/>
          </p:cNvSpPr>
          <p:nvPr>
            <p:ph sz="quarter" idx="17"/>
          </p:nvPr>
        </p:nvSpPr>
        <p:spPr>
          <a:xfrm>
            <a:off x="866301" y="1006078"/>
            <a:ext cx="7875589" cy="3455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95166169"/>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Slide Number Placeholder 5"/>
          <p:cNvSpPr>
            <a:spLocks noGrp="1"/>
          </p:cNvSpPr>
          <p:nvPr>
            <p:ph type="sldNum" sz="quarter" idx="10"/>
          </p:nvPr>
        </p:nvSpPr>
        <p:spPr/>
        <p:txBody>
          <a:bodyPr/>
          <a:lstStyle>
            <a:lvl1pPr>
              <a:defRPr/>
            </a:lvl1pPr>
          </a:lstStyle>
          <a:p>
            <a:pPr>
              <a:defRPr/>
            </a:pPr>
            <a:fld id="{D5ED4DFB-8BBC-43CF-83F8-C8BB4C78FE91}" type="slidenum">
              <a:rPr lang="nb-NO"/>
              <a:pPr>
                <a:defRPr/>
              </a:pPr>
              <a:t>‹#›</a:t>
            </a:fld>
            <a:endParaRPr lang="nb-NO" dirty="0"/>
          </a:p>
        </p:txBody>
      </p:sp>
    </p:spTree>
    <p:extLst>
      <p:ext uri="{BB962C8B-B14F-4D97-AF65-F5344CB8AC3E}">
        <p14:creationId xmlns:p14="http://schemas.microsoft.com/office/powerpoint/2010/main" val="26054363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page">
    <p:spTree>
      <p:nvGrpSpPr>
        <p:cNvPr id="1" name=""/>
        <p:cNvGrpSpPr/>
        <p:nvPr/>
      </p:nvGrpSpPr>
      <p:grpSpPr>
        <a:xfrm>
          <a:off x="0" y="0"/>
          <a:ext cx="0" cy="0"/>
          <a:chOff x="0" y="0"/>
          <a:chExt cx="0" cy="0"/>
        </a:xfrm>
      </p:grpSpPr>
      <p:pic>
        <p:nvPicPr>
          <p:cNvPr id="6" name="Bilde 3" descr="EXTENDED_PPT_TOP.png"/>
          <p:cNvPicPr>
            <a:picLocks noChangeAspect="1"/>
          </p:cNvPicPr>
          <p:nvPr/>
        </p:nvPicPr>
        <p:blipFill rotWithShape="1">
          <a:blip r:embed="rId2" cstate="print">
            <a:extLst>
              <a:ext uri="{28A0092B-C50C-407E-A947-70E740481C1C}">
                <a14:useLocalDpi xmlns:a14="http://schemas.microsoft.com/office/drawing/2010/main" val="0"/>
              </a:ext>
            </a:extLst>
          </a:blip>
          <a:srcRect t="193"/>
          <a:stretch/>
        </p:blipFill>
        <p:spPr>
          <a:xfrm>
            <a:off x="6540716" y="0"/>
            <a:ext cx="2152357" cy="5133590"/>
          </a:xfrm>
          <a:prstGeom prst="rect">
            <a:avLst/>
          </a:prstGeom>
        </p:spPr>
      </p:pic>
      <p:sp>
        <p:nvSpPr>
          <p:cNvPr id="2" name="Title 1"/>
          <p:cNvSpPr>
            <a:spLocks noGrp="1"/>
          </p:cNvSpPr>
          <p:nvPr>
            <p:ph type="ctrTitle"/>
          </p:nvPr>
        </p:nvSpPr>
        <p:spPr>
          <a:xfrm>
            <a:off x="864210" y="1653780"/>
            <a:ext cx="5680412" cy="811913"/>
          </a:xfrm>
        </p:spPr>
        <p:txBody>
          <a:bodyPr anchor="b" anchorCtr="0">
            <a:noAutofit/>
          </a:bodyPr>
          <a:lstStyle>
            <a:lvl1pPr algn="l">
              <a:defRPr sz="3600">
                <a:solidFill>
                  <a:schemeClr val="accent2"/>
                </a:solidFill>
              </a:defRPr>
            </a:lvl1pPr>
          </a:lstStyle>
          <a:p>
            <a:r>
              <a:rPr lang="en-US"/>
              <a:t>Click to edit Master title style</a:t>
            </a:r>
            <a:endParaRPr lang="en-GB" dirty="0"/>
          </a:p>
        </p:txBody>
      </p:sp>
      <p:sp>
        <p:nvSpPr>
          <p:cNvPr id="3" name="Subtitle 2"/>
          <p:cNvSpPr>
            <a:spLocks noGrp="1"/>
          </p:cNvSpPr>
          <p:nvPr>
            <p:ph type="subTitle" idx="1"/>
          </p:nvPr>
        </p:nvSpPr>
        <p:spPr>
          <a:xfrm>
            <a:off x="873125" y="2517744"/>
            <a:ext cx="6311656" cy="1314450"/>
          </a:xfrm>
        </p:spPr>
        <p:txBody>
          <a:bodyPr>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41776973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
        <p:nvSpPr>
          <p:cNvPr id="3" name="Slide Number Placeholder 2"/>
          <p:cNvSpPr>
            <a:spLocks noGrp="1"/>
          </p:cNvSpPr>
          <p:nvPr>
            <p:ph type="sldNum" sz="quarter" idx="16"/>
          </p:nvPr>
        </p:nvSpPr>
        <p:spPr/>
        <p:txBody>
          <a:bodyPr/>
          <a:lstStyle/>
          <a:p>
            <a:fld id="{DE050E36-BA33-43C0-AE7D-FD2A806B7DFE}" type="slidenum">
              <a:rPr lang="en-GB" smtClean="0"/>
              <a:pPr/>
              <a:t>‹#›</a:t>
            </a:fld>
            <a:endParaRPr lang="en-GB"/>
          </a:p>
        </p:txBody>
      </p:sp>
      <p:sp>
        <p:nvSpPr>
          <p:cNvPr id="8" name="Text Placeholder 4"/>
          <p:cNvSpPr>
            <a:spLocks noGrp="1"/>
          </p:cNvSpPr>
          <p:nvPr>
            <p:ph type="body" sz="quarter" idx="12"/>
          </p:nvPr>
        </p:nvSpPr>
        <p:spPr>
          <a:xfrm>
            <a:off x="478846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9" name="Text Placeholder 5"/>
          <p:cNvSpPr>
            <a:spLocks noGrp="1"/>
          </p:cNvSpPr>
          <p:nvPr>
            <p:ph type="body" sz="quarter" idx="14"/>
          </p:nvPr>
        </p:nvSpPr>
        <p:spPr>
          <a:xfrm>
            <a:off x="859443" y="4926807"/>
            <a:ext cx="6172552"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5" name="Content Placeholder 4"/>
          <p:cNvSpPr>
            <a:spLocks noGrp="1"/>
          </p:cNvSpPr>
          <p:nvPr>
            <p:ph sz="quarter" idx="17"/>
          </p:nvPr>
        </p:nvSpPr>
        <p:spPr>
          <a:xfrm>
            <a:off x="866301" y="1006078"/>
            <a:ext cx="7875589" cy="3455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4068453"/>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column with heading">
    <p:spTree>
      <p:nvGrpSpPr>
        <p:cNvPr id="1" name=""/>
        <p:cNvGrpSpPr/>
        <p:nvPr/>
      </p:nvGrpSpPr>
      <p:grpSpPr>
        <a:xfrm>
          <a:off x="0" y="0"/>
          <a:ext cx="0" cy="0"/>
          <a:chOff x="0" y="0"/>
          <a:chExt cx="0" cy="0"/>
        </a:xfrm>
      </p:grpSpPr>
      <p:sp>
        <p:nvSpPr>
          <p:cNvPr id="7" name="Text Placeholder 7"/>
          <p:cNvSpPr>
            <a:spLocks noGrp="1"/>
          </p:cNvSpPr>
          <p:nvPr>
            <p:ph type="body" sz="quarter" idx="15"/>
          </p:nvPr>
        </p:nvSpPr>
        <p:spPr>
          <a:xfrm>
            <a:off x="863601" y="1006079"/>
            <a:ext cx="7885113" cy="264049"/>
          </a:xfrm>
        </p:spPr>
        <p:txBody>
          <a:bodyPr>
            <a:noAutofit/>
          </a:bodyPr>
          <a:lstStyle>
            <a:lvl1pPr marL="0" indent="0">
              <a:buNone/>
              <a:defRPr sz="2400" b="1"/>
            </a:lvl1pPr>
          </a:lstStyle>
          <a:p>
            <a:pPr lvl="0"/>
            <a:r>
              <a:rPr lang="en-US"/>
              <a:t>Click to edit Master text styles</a:t>
            </a:r>
          </a:p>
        </p:txBody>
      </p:sp>
      <p:sp>
        <p:nvSpPr>
          <p:cNvPr id="3" name="Slide Number Placeholder 2"/>
          <p:cNvSpPr>
            <a:spLocks noGrp="1"/>
          </p:cNvSpPr>
          <p:nvPr>
            <p:ph type="sldNum" sz="quarter" idx="16"/>
          </p:nvPr>
        </p:nvSpPr>
        <p:spPr/>
        <p:txBody>
          <a:bodyPr/>
          <a:lstStyle/>
          <a:p>
            <a:fld id="{DE050E36-BA33-43C0-AE7D-FD2A806B7DFE}" type="slidenum">
              <a:rPr lang="en-GB" smtClean="0"/>
              <a:pPr/>
              <a:t>‹#›</a:t>
            </a:fld>
            <a:endParaRPr lang="en-GB"/>
          </a:p>
        </p:txBody>
      </p:sp>
      <p:sp>
        <p:nvSpPr>
          <p:cNvPr id="5" name="Content Placeholder 4"/>
          <p:cNvSpPr>
            <a:spLocks noGrp="1"/>
          </p:cNvSpPr>
          <p:nvPr>
            <p:ph sz="quarter" idx="17"/>
          </p:nvPr>
        </p:nvSpPr>
        <p:spPr>
          <a:xfrm>
            <a:off x="863601" y="1329613"/>
            <a:ext cx="7885113" cy="31328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9"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386310310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DE050E36-BA33-43C0-AE7D-FD2A806B7DFE}" type="slidenum">
              <a:rPr lang="en-GB" smtClean="0"/>
              <a:pPr/>
              <a:t>‹#›</a:t>
            </a:fld>
            <a:endParaRPr lang="en-GB"/>
          </a:p>
        </p:txBody>
      </p:sp>
      <p:sp>
        <p:nvSpPr>
          <p:cNvPr id="10"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1"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2630904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50480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DE050E36-BA33-43C0-AE7D-FD2A806B7DFE}" type="slidenum">
              <a:rPr lang="en-GB" smtClean="0"/>
              <a:pPr/>
              <a:t>‹#›</a:t>
            </a:fld>
            <a:endParaRPr lang="en-GB"/>
          </a:p>
        </p:txBody>
      </p:sp>
      <p:sp>
        <p:nvSpPr>
          <p:cNvPr id="7" name="Content Placeholder 6"/>
          <p:cNvSpPr>
            <a:spLocks noGrp="1"/>
          </p:cNvSpPr>
          <p:nvPr>
            <p:ph sz="quarter" idx="16"/>
          </p:nvPr>
        </p:nvSpPr>
        <p:spPr>
          <a:xfrm>
            <a:off x="863601" y="1006033"/>
            <a:ext cx="3816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6"/>
          <p:cNvSpPr>
            <a:spLocks noGrp="1"/>
          </p:cNvSpPr>
          <p:nvPr>
            <p:ph sz="quarter" idx="17"/>
          </p:nvPr>
        </p:nvSpPr>
        <p:spPr>
          <a:xfrm>
            <a:off x="4932041" y="1005318"/>
            <a:ext cx="3816673"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3"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190337861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
        <p:nvSpPr>
          <p:cNvPr id="3" name="Slide Number Placeholder 2"/>
          <p:cNvSpPr>
            <a:spLocks noGrp="1"/>
          </p:cNvSpPr>
          <p:nvPr>
            <p:ph type="sldNum" sz="quarter" idx="16"/>
          </p:nvPr>
        </p:nvSpPr>
        <p:spPr/>
        <p:txBody>
          <a:bodyPr/>
          <a:lstStyle/>
          <a:p>
            <a:fld id="{DE050E36-BA33-43C0-AE7D-FD2A806B7DFE}" type="slidenum">
              <a:rPr lang="en-GB" smtClean="0"/>
              <a:pPr/>
              <a:t>‹#›</a:t>
            </a:fld>
            <a:endParaRPr lang="en-GB"/>
          </a:p>
        </p:txBody>
      </p:sp>
      <p:sp>
        <p:nvSpPr>
          <p:cNvPr id="8" name="Text Placeholder 4"/>
          <p:cNvSpPr>
            <a:spLocks noGrp="1"/>
          </p:cNvSpPr>
          <p:nvPr>
            <p:ph type="body" sz="quarter" idx="12"/>
          </p:nvPr>
        </p:nvSpPr>
        <p:spPr>
          <a:xfrm>
            <a:off x="478846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9" name="Text Placeholder 5"/>
          <p:cNvSpPr>
            <a:spLocks noGrp="1"/>
          </p:cNvSpPr>
          <p:nvPr>
            <p:ph type="body" sz="quarter" idx="14"/>
          </p:nvPr>
        </p:nvSpPr>
        <p:spPr>
          <a:xfrm>
            <a:off x="859443" y="4926807"/>
            <a:ext cx="6172552"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5" name="Content Placeholder 4"/>
          <p:cNvSpPr>
            <a:spLocks noGrp="1"/>
          </p:cNvSpPr>
          <p:nvPr>
            <p:ph sz="quarter" idx="17"/>
          </p:nvPr>
        </p:nvSpPr>
        <p:spPr>
          <a:xfrm>
            <a:off x="866301" y="1006078"/>
            <a:ext cx="7875589" cy="3455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44612932"/>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narrow left">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DE050E36-BA33-43C0-AE7D-FD2A806B7DFE}" type="slidenum">
              <a:rPr lang="en-GB" smtClean="0"/>
              <a:pPr/>
              <a:t>‹#›</a:t>
            </a:fld>
            <a:endParaRPr lang="en-GB"/>
          </a:p>
        </p:txBody>
      </p:sp>
      <p:sp>
        <p:nvSpPr>
          <p:cNvPr id="7" name="Content Placeholder 6"/>
          <p:cNvSpPr>
            <a:spLocks noGrp="1"/>
          </p:cNvSpPr>
          <p:nvPr>
            <p:ph sz="quarter" idx="16"/>
          </p:nvPr>
        </p:nvSpPr>
        <p:spPr>
          <a:xfrm>
            <a:off x="863600" y="1006079"/>
            <a:ext cx="2592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6"/>
          <p:cNvSpPr>
            <a:spLocks noGrp="1"/>
          </p:cNvSpPr>
          <p:nvPr>
            <p:ph sz="quarter" idx="17"/>
          </p:nvPr>
        </p:nvSpPr>
        <p:spPr>
          <a:xfrm>
            <a:off x="3564464" y="1006079"/>
            <a:ext cx="5184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2"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4816911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narrow right">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DE050E36-BA33-43C0-AE7D-FD2A806B7DFE}" type="slidenum">
              <a:rPr lang="en-GB" smtClean="0"/>
              <a:pPr/>
              <a:t>‹#›</a:t>
            </a:fld>
            <a:endParaRPr lang="en-GB"/>
          </a:p>
        </p:txBody>
      </p:sp>
      <p:sp>
        <p:nvSpPr>
          <p:cNvPr id="11" name="Content Placeholder 6"/>
          <p:cNvSpPr>
            <a:spLocks noGrp="1"/>
          </p:cNvSpPr>
          <p:nvPr>
            <p:ph sz="quarter" idx="16"/>
          </p:nvPr>
        </p:nvSpPr>
        <p:spPr>
          <a:xfrm>
            <a:off x="863599" y="1006079"/>
            <a:ext cx="5184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6"/>
          <p:cNvSpPr>
            <a:spLocks noGrp="1"/>
          </p:cNvSpPr>
          <p:nvPr>
            <p:ph sz="quarter" idx="17"/>
          </p:nvPr>
        </p:nvSpPr>
        <p:spPr>
          <a:xfrm>
            <a:off x="6156464" y="1006079"/>
            <a:ext cx="2592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3"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3249942892"/>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p:txBody>
          <a:bodyPr/>
          <a:lstStyle/>
          <a:p>
            <a:fld id="{DE050E36-BA33-43C0-AE7D-FD2A806B7DFE}" type="slidenum">
              <a:rPr lang="en-GB" smtClean="0"/>
              <a:pPr/>
              <a:t>‹#›</a:t>
            </a:fld>
            <a:endParaRPr lang="en-GB"/>
          </a:p>
        </p:txBody>
      </p:sp>
      <p:sp>
        <p:nvSpPr>
          <p:cNvPr id="13" name="Content Placeholder 6"/>
          <p:cNvSpPr>
            <a:spLocks noGrp="1"/>
          </p:cNvSpPr>
          <p:nvPr>
            <p:ph sz="quarter" idx="16"/>
          </p:nvPr>
        </p:nvSpPr>
        <p:spPr>
          <a:xfrm>
            <a:off x="863600" y="1004367"/>
            <a:ext cx="3852415" cy="1674000"/>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6"/>
          <p:cNvSpPr>
            <a:spLocks noGrp="1"/>
          </p:cNvSpPr>
          <p:nvPr>
            <p:ph sz="quarter" idx="19"/>
          </p:nvPr>
        </p:nvSpPr>
        <p:spPr>
          <a:xfrm>
            <a:off x="4877050" y="1006078"/>
            <a:ext cx="3852000" cy="1674000"/>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6"/>
          <p:cNvSpPr>
            <a:spLocks noGrp="1"/>
          </p:cNvSpPr>
          <p:nvPr>
            <p:ph sz="quarter" idx="20"/>
          </p:nvPr>
        </p:nvSpPr>
        <p:spPr>
          <a:xfrm>
            <a:off x="863601" y="2790935"/>
            <a:ext cx="3852566" cy="1671528"/>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6"/>
          <p:cNvSpPr>
            <a:spLocks noGrp="1"/>
          </p:cNvSpPr>
          <p:nvPr>
            <p:ph sz="quarter" idx="21"/>
          </p:nvPr>
        </p:nvSpPr>
        <p:spPr>
          <a:xfrm>
            <a:off x="4876801" y="2787775"/>
            <a:ext cx="3852000" cy="1674590"/>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7"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10"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4032408684"/>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spalter">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505499"/>
              </p:ext>
            </p:extLst>
          </p:nvPr>
        </p:nvGraphicFramePr>
        <p:xfrm>
          <a:off x="1467" y="1192"/>
          <a:ext cx="1465"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467" y="1192"/>
                        <a:ext cx="1465" cy="1190"/>
                      </a:xfrm>
                      <a:prstGeom prst="rect">
                        <a:avLst/>
                      </a:prstGeom>
                    </p:spPr>
                  </p:pic>
                </p:oleObj>
              </mc:Fallback>
            </mc:AlternateContent>
          </a:graphicData>
        </a:graphic>
      </p:graphicFrame>
      <p:sp>
        <p:nvSpPr>
          <p:cNvPr id="10" name="Text Placeholder 9"/>
          <p:cNvSpPr>
            <a:spLocks noGrp="1"/>
          </p:cNvSpPr>
          <p:nvPr>
            <p:ph type="body" sz="quarter" idx="13"/>
          </p:nvPr>
        </p:nvSpPr>
        <p:spPr>
          <a:xfrm>
            <a:off x="252046" y="789386"/>
            <a:ext cx="8639908" cy="3673078"/>
          </a:xfrm>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7" name="Rectangle 6"/>
          <p:cNvSpPr/>
          <p:nvPr userDrawn="1"/>
        </p:nvSpPr>
        <p:spPr>
          <a:xfrm>
            <a:off x="118583" y="4676797"/>
            <a:ext cx="7112175" cy="369332"/>
          </a:xfrm>
          <a:prstGeom prst="rect">
            <a:avLst/>
          </a:prstGeom>
        </p:spPr>
        <p:txBody>
          <a:bodyPr wrap="square">
            <a:spAutoFit/>
          </a:bodyPr>
          <a:lstStyle/>
          <a:p>
            <a:pPr>
              <a:spcBef>
                <a:spcPts val="0"/>
              </a:spcBef>
            </a:pPr>
            <a:r>
              <a:rPr lang="en-GB" sz="600" dirty="0">
                <a:solidFill>
                  <a:srgbClr val="000000"/>
                </a:solidFill>
              </a:rPr>
              <a:t>Analysts: Alexander Aukner (+47 </a:t>
            </a:r>
            <a:r>
              <a:rPr lang="en-GB" sz="600" baseline="0" dirty="0">
                <a:solidFill>
                  <a:srgbClr val="000000"/>
                </a:solidFill>
              </a:rPr>
              <a:t> 24 16  90 79; </a:t>
            </a:r>
            <a:r>
              <a:rPr lang="en-GB" sz="600" dirty="0">
                <a:solidFill>
                  <a:srgbClr val="000000"/>
                </a:solidFill>
              </a:rPr>
              <a:t>alexander.aukner@dnb.no) ; Tone B. </a:t>
            </a:r>
            <a:r>
              <a:rPr lang="en-GB" sz="600" dirty="0" err="1">
                <a:solidFill>
                  <a:srgbClr val="000000"/>
                </a:solidFill>
              </a:rPr>
              <a:t>Hanstad</a:t>
            </a:r>
            <a:r>
              <a:rPr lang="en-GB" sz="600" dirty="0">
                <a:solidFill>
                  <a:srgbClr val="000000"/>
                </a:solidFill>
              </a:rPr>
              <a:t> (+47 41 62 94 46;</a:t>
            </a:r>
            <a:r>
              <a:rPr lang="en-GB" sz="600" baseline="0" dirty="0">
                <a:solidFill>
                  <a:srgbClr val="000000"/>
                </a:solidFill>
              </a:rPr>
              <a:t> tone.bjornstad.hanstad@dnb.no)</a:t>
            </a:r>
            <a:endParaRPr lang="en-GB" sz="600" dirty="0">
              <a:solidFill>
                <a:srgbClr val="000000"/>
              </a:solidFill>
            </a:endParaRPr>
          </a:p>
          <a:p>
            <a:pPr>
              <a:spcBef>
                <a:spcPts val="0"/>
              </a:spcBef>
            </a:pPr>
            <a:br>
              <a:rPr lang="en-GB" sz="600" dirty="0">
                <a:solidFill>
                  <a:srgbClr val="000000"/>
                </a:solidFill>
              </a:rPr>
            </a:br>
            <a:endParaRPr lang="en-GB" sz="600" dirty="0">
              <a:solidFill>
                <a:srgbClr val="000000"/>
              </a:solidFill>
            </a:endParaRPr>
          </a:p>
        </p:txBody>
      </p:sp>
      <p:sp>
        <p:nvSpPr>
          <p:cNvPr id="4" name="Title 3"/>
          <p:cNvSpPr>
            <a:spLocks noGrp="1"/>
          </p:cNvSpPr>
          <p:nvPr>
            <p:ph type="title"/>
          </p:nvPr>
        </p:nvSpPr>
        <p:spPr/>
        <p:txBody>
          <a:bodyPr/>
          <a:lstStyle/>
          <a:p>
            <a:r>
              <a:rPr lang="en-US" dirty="0"/>
              <a:t>Click to edit Master title style</a:t>
            </a:r>
            <a:endParaRPr lang="nb-NO" dirty="0"/>
          </a:p>
        </p:txBody>
      </p:sp>
      <p:sp>
        <p:nvSpPr>
          <p:cNvPr id="8" name="TextBox 7"/>
          <p:cNvSpPr txBox="1"/>
          <p:nvPr userDrawn="1"/>
        </p:nvSpPr>
        <p:spPr>
          <a:xfrm>
            <a:off x="6367097" y="87475"/>
            <a:ext cx="2458914" cy="246221"/>
          </a:xfrm>
          <a:prstGeom prst="rect">
            <a:avLst/>
          </a:prstGeom>
          <a:noFill/>
        </p:spPr>
        <p:txBody>
          <a:bodyPr wrap="square" rtlCol="0">
            <a:spAutoFit/>
          </a:bodyPr>
          <a:lstStyle/>
          <a:p>
            <a:pPr marL="0" indent="0">
              <a:buClr>
                <a:schemeClr val="accent2"/>
              </a:buClr>
              <a:buFont typeface="Wingdings" pitchFamily="2" charset="2"/>
              <a:buNone/>
            </a:pPr>
            <a:r>
              <a:rPr lang="en-US" sz="1000" dirty="0">
                <a:solidFill>
                  <a:schemeClr val="accent1"/>
                </a:solidFill>
              </a:rPr>
              <a:t>Seafood</a:t>
            </a:r>
            <a:r>
              <a:rPr lang="en-US" sz="1000" baseline="0" dirty="0">
                <a:solidFill>
                  <a:schemeClr val="accent1"/>
                </a:solidFill>
              </a:rPr>
              <a:t> weekly </a:t>
            </a:r>
            <a:fld id="{CBF8A2EA-CF00-4EF6-8C98-2AC94F9087F1}" type="datetime3">
              <a:rPr lang="en-US" sz="1000" smtClean="0">
                <a:solidFill>
                  <a:schemeClr val="accent1"/>
                </a:solidFill>
              </a:rPr>
              <a:t>13 June 2023</a:t>
            </a:fld>
            <a:endParaRPr lang="nb-NO" sz="1000" dirty="0">
              <a:solidFill>
                <a:schemeClr val="accent1"/>
              </a:solidFill>
            </a:endParaRPr>
          </a:p>
        </p:txBody>
      </p:sp>
    </p:spTree>
    <p:extLst>
      <p:ext uri="{BB962C8B-B14F-4D97-AF65-F5344CB8AC3E}">
        <p14:creationId xmlns:p14="http://schemas.microsoft.com/office/powerpoint/2010/main" val="2570036502"/>
      </p:ext>
    </p:extLst>
  </p:cSld>
  <p:clrMapOvr>
    <a:overrideClrMapping bg1="dk1" tx1="lt1" bg2="dk2" tx2="lt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med fargebakgrunn">
    <p:spTree>
      <p:nvGrpSpPr>
        <p:cNvPr id="1" name=""/>
        <p:cNvGrpSpPr/>
        <p:nvPr/>
      </p:nvGrpSpPr>
      <p:grpSpPr>
        <a:xfrm>
          <a:off x="0" y="0"/>
          <a:ext cx="0" cy="0"/>
          <a:chOff x="0" y="0"/>
          <a:chExt cx="0" cy="0"/>
        </a:xfrm>
      </p:grpSpPr>
      <p:sp>
        <p:nvSpPr>
          <p:cNvPr id="9" name="Rektangel 8"/>
          <p:cNvSpPr/>
          <p:nvPr userDrawn="1"/>
        </p:nvSpPr>
        <p:spPr bwMode="auto">
          <a:xfrm>
            <a:off x="0" y="0"/>
            <a:ext cx="9144000" cy="5143500"/>
          </a:xfrm>
          <a:prstGeom prst="rect">
            <a:avLst/>
          </a:prstGeom>
          <a:solidFill>
            <a:srgbClr val="14555A"/>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chemeClr val="accent1"/>
              </a:solidFill>
              <a:effectLst/>
              <a:latin typeface="Segoe UI"/>
              <a:ea typeface="ヒラギノ角ゴ ProN W3" charset="0"/>
              <a:cs typeface="Segoe UI"/>
              <a:sym typeface="Gill Sans" charset="0"/>
            </a:endParaRPr>
          </a:p>
        </p:txBody>
      </p:sp>
      <p:sp>
        <p:nvSpPr>
          <p:cNvPr id="10" name="Plassholder for lysbildenummer 5"/>
          <p:cNvSpPr>
            <a:spLocks noGrp="1"/>
          </p:cNvSpPr>
          <p:nvPr>
            <p:ph type="sldNum" sz="quarter" idx="13"/>
          </p:nvPr>
        </p:nvSpPr>
        <p:spPr>
          <a:xfrm>
            <a:off x="4193958" y="4803998"/>
            <a:ext cx="792088" cy="253770"/>
          </a:xfrm>
          <a:prstGeom prst="rect">
            <a:avLst/>
          </a:prstGeom>
        </p:spPr>
        <p:txBody>
          <a:bodyPr lIns="0" tIns="0" rIns="0" bIns="0"/>
          <a:lstStyle>
            <a:lvl1pPr algn="r">
              <a:defRPr sz="1600" b="0" i="0">
                <a:solidFill>
                  <a:schemeClr val="accent1"/>
                </a:solidFill>
                <a:latin typeface="Segoe UI" charset="0"/>
                <a:ea typeface="Segoe UI" charset="0"/>
                <a:cs typeface="Segoe UI" charset="0"/>
              </a:defRPr>
            </a:lvl1pPr>
          </a:lstStyle>
          <a:p>
            <a:pPr algn="ctr"/>
            <a:fld id="{FB0F92BC-E9B5-8747-84F4-872B61BA0272}" type="slidenum">
              <a:rPr lang="nb-NO" smtClean="0"/>
              <a:pPr algn="ctr"/>
              <a:t>‹#›</a:t>
            </a:fld>
            <a:endParaRPr lang="nb-NO" dirty="0"/>
          </a:p>
        </p:txBody>
      </p:sp>
      <p:sp>
        <p:nvSpPr>
          <p:cNvPr id="13" name="Content Placeholder 2"/>
          <p:cNvSpPr>
            <a:spLocks noGrp="1"/>
          </p:cNvSpPr>
          <p:nvPr>
            <p:ph idx="1"/>
          </p:nvPr>
        </p:nvSpPr>
        <p:spPr>
          <a:xfrm>
            <a:off x="539552" y="1275606"/>
            <a:ext cx="8100900" cy="3384376"/>
          </a:xfrm>
          <a:prstGeom prst="rect">
            <a:avLst/>
          </a:prstGeom>
        </p:spPr>
        <p:txBody>
          <a:bodyPr wrap="square" lIns="0" tIns="0" rIns="0" bIns="0" anchor="t" anchorCtr="0">
            <a:noAutofit/>
          </a:bodyPr>
          <a:lstStyle>
            <a:lvl1pPr marL="216000" indent="-180000">
              <a:lnSpc>
                <a:spcPct val="100000"/>
              </a:lnSpc>
              <a:spcBef>
                <a:spcPts val="600"/>
              </a:spcBef>
              <a:spcAft>
                <a:spcPts val="0"/>
              </a:spcAft>
              <a:buClr>
                <a:schemeClr val="accent2"/>
              </a:buClr>
              <a:buSzPct val="100000"/>
              <a:buFont typeface="Wingdings" charset="2"/>
              <a:buChar char="§"/>
              <a:defRPr sz="1400" baseline="0">
                <a:solidFill>
                  <a:schemeClr val="bg1"/>
                </a:solidFill>
                <a:latin typeface="Segoe UI"/>
              </a:defRPr>
            </a:lvl1pPr>
            <a:lvl2pPr marL="360000" indent="-144000">
              <a:lnSpc>
                <a:spcPct val="100000"/>
              </a:lnSpc>
              <a:spcBef>
                <a:spcPts val="600"/>
              </a:spcBef>
              <a:spcAft>
                <a:spcPts val="0"/>
              </a:spcAft>
              <a:buClr>
                <a:schemeClr val="accent2"/>
              </a:buClr>
              <a:buSzPct val="100000"/>
              <a:buFont typeface="Wingdings" charset="2"/>
              <a:buChar char="§"/>
              <a:defRPr sz="1200">
                <a:solidFill>
                  <a:schemeClr val="bg1"/>
                </a:solidFill>
                <a:latin typeface="Segoe UI"/>
              </a:defRPr>
            </a:lvl2pPr>
            <a:lvl3pPr marL="540000" indent="-144000">
              <a:lnSpc>
                <a:spcPct val="100000"/>
              </a:lnSpc>
              <a:spcBef>
                <a:spcPts val="600"/>
              </a:spcBef>
              <a:spcAft>
                <a:spcPts val="0"/>
              </a:spcAft>
              <a:buClr>
                <a:schemeClr val="accent2"/>
              </a:buClr>
              <a:buSzPct val="100000"/>
              <a:buFont typeface="Wingdings" charset="2"/>
              <a:buChar char="§"/>
              <a:tabLst>
                <a:tab pos="1446558" algn="l"/>
              </a:tabLst>
              <a:defRPr sz="1000">
                <a:solidFill>
                  <a:schemeClr val="bg1"/>
                </a:solidFill>
                <a:latin typeface="Segoe UI"/>
              </a:defRPr>
            </a:lvl3pPr>
            <a:lvl4pPr marL="1768015" indent="-349200">
              <a:lnSpc>
                <a:spcPct val="100000"/>
              </a:lnSpc>
              <a:spcBef>
                <a:spcPts val="1000"/>
              </a:spcBef>
              <a:spcAft>
                <a:spcPts val="0"/>
              </a:spcAft>
              <a:buSzPct val="125000"/>
              <a:buFont typeface="Wingdings" charset="2"/>
              <a:buChar char="§"/>
              <a:defRPr sz="1400"/>
            </a:lvl4pPr>
            <a:lvl5pPr marL="2143049" indent="-349200">
              <a:lnSpc>
                <a:spcPct val="100000"/>
              </a:lnSpc>
              <a:spcBef>
                <a:spcPts val="1000"/>
              </a:spcBef>
              <a:spcAft>
                <a:spcPts val="0"/>
              </a:spcAft>
              <a:buSzPct val="125000"/>
              <a:buFont typeface="Wingdings" charset="2"/>
              <a:buChar char="§"/>
              <a:defRPr sz="1200"/>
            </a:lvl5pPr>
            <a:lvl6pPr>
              <a:defRPr sz="1400"/>
            </a:lvl6pPr>
            <a:lvl7pPr>
              <a:defRPr sz="1400"/>
            </a:lvl7pPr>
            <a:lvl8pPr>
              <a:defRPr sz="1400"/>
            </a:lvl8pPr>
            <a:lvl9pPr>
              <a:defRPr sz="1400"/>
            </a:lvl9pPr>
          </a:lstStyle>
          <a:p>
            <a:pPr lvl="0"/>
            <a:r>
              <a:rPr lang="nb-NO" dirty="0"/>
              <a:t>Klikk for å redigere tekststiler i malen</a:t>
            </a:r>
          </a:p>
          <a:p>
            <a:pPr lvl="1"/>
            <a:r>
              <a:rPr lang="nb-NO" dirty="0"/>
              <a:t>Andre nivå</a:t>
            </a:r>
          </a:p>
          <a:p>
            <a:pPr lvl="2"/>
            <a:r>
              <a:rPr lang="nb-NO" dirty="0"/>
              <a:t>Tredje nivå</a:t>
            </a:r>
          </a:p>
        </p:txBody>
      </p:sp>
      <p:sp>
        <p:nvSpPr>
          <p:cNvPr id="16" name="Tittel 8"/>
          <p:cNvSpPr>
            <a:spLocks noGrp="1"/>
          </p:cNvSpPr>
          <p:nvPr>
            <p:ph type="title"/>
          </p:nvPr>
        </p:nvSpPr>
        <p:spPr>
          <a:xfrm>
            <a:off x="539552" y="411510"/>
            <a:ext cx="8100900" cy="540000"/>
          </a:xfrm>
          <a:prstGeom prst="rect">
            <a:avLst/>
          </a:prstGeom>
        </p:spPr>
        <p:txBody>
          <a:bodyPr lIns="36000" tIns="36000" rIns="36000" bIns="36000" anchor="ctr" anchorCtr="0"/>
          <a:lstStyle>
            <a:lvl1pPr algn="l">
              <a:defRPr sz="4000">
                <a:solidFill>
                  <a:schemeClr val="bg1"/>
                </a:solidFill>
                <a:effectLst/>
                <a:latin typeface="Segoe UI"/>
                <a:cs typeface="Segoe UI"/>
              </a:defRPr>
            </a:lvl1pPr>
          </a:lstStyle>
          <a:p>
            <a:r>
              <a:rPr lang="nb-NO" dirty="0"/>
              <a:t>Klikk for å redigere tittelstil</a:t>
            </a:r>
          </a:p>
        </p:txBody>
      </p:sp>
    </p:spTree>
    <p:extLst>
      <p:ext uri="{BB962C8B-B14F-4D97-AF65-F5344CB8AC3E}">
        <p14:creationId xmlns:p14="http://schemas.microsoft.com/office/powerpoint/2010/main" val="2059317405"/>
      </p:ext>
    </p:extLst>
  </p:cSld>
  <p:clrMapOvr>
    <a:masterClrMapping/>
  </p:clrMapOvr>
  <p:transition spd="med" advClick="0">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spalte">
    <p:spTree>
      <p:nvGrpSpPr>
        <p:cNvPr id="1" name=""/>
        <p:cNvGrpSpPr/>
        <p:nvPr/>
      </p:nvGrpSpPr>
      <p:grpSpPr>
        <a:xfrm>
          <a:off x="0" y="0"/>
          <a:ext cx="0" cy="0"/>
          <a:chOff x="0" y="0"/>
          <a:chExt cx="0" cy="0"/>
        </a:xfrm>
      </p:grpSpPr>
      <p:sp>
        <p:nvSpPr>
          <p:cNvPr id="2" name="Title 1"/>
          <p:cNvSpPr>
            <a:spLocks noGrp="1"/>
          </p:cNvSpPr>
          <p:nvPr>
            <p:ph type="title"/>
          </p:nvPr>
        </p:nvSpPr>
        <p:spPr>
          <a:xfrm>
            <a:off x="873123" y="249159"/>
            <a:ext cx="7875590" cy="702152"/>
          </a:xfrm>
        </p:spPr>
        <p:txBody>
          <a:bodyPr/>
          <a:lstStyle/>
          <a:p>
            <a:r>
              <a:rPr lang="en-US"/>
              <a:t>Click to edit Master title style</a:t>
            </a:r>
            <a:endParaRPr lang="nb-NO" dirty="0"/>
          </a:p>
        </p:txBody>
      </p:sp>
      <p:sp>
        <p:nvSpPr>
          <p:cNvPr id="3" name="Slide Number Placeholder 2"/>
          <p:cNvSpPr>
            <a:spLocks noGrp="1"/>
          </p:cNvSpPr>
          <p:nvPr>
            <p:ph type="sldNum" sz="quarter" idx="16"/>
          </p:nvPr>
        </p:nvSpPr>
        <p:spPr/>
        <p:txBody>
          <a:bodyPr/>
          <a:lstStyle/>
          <a:p>
            <a:fld id="{DE050E36-BA33-43C0-AE7D-FD2A806B7DFE}" type="slidenum">
              <a:rPr lang="nb-NO" smtClean="0"/>
              <a:pPr/>
              <a:t>‹#›</a:t>
            </a:fld>
            <a:endParaRPr lang="nb-NO"/>
          </a:p>
        </p:txBody>
      </p:sp>
      <p:sp>
        <p:nvSpPr>
          <p:cNvPr id="8" name="Text Placeholder 4"/>
          <p:cNvSpPr>
            <a:spLocks noGrp="1"/>
          </p:cNvSpPr>
          <p:nvPr>
            <p:ph type="body" sz="quarter" idx="12"/>
          </p:nvPr>
        </p:nvSpPr>
        <p:spPr>
          <a:xfrm>
            <a:off x="4788464" y="87476"/>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9" name="Text Placeholder 5"/>
          <p:cNvSpPr>
            <a:spLocks noGrp="1"/>
          </p:cNvSpPr>
          <p:nvPr>
            <p:ph type="body" sz="quarter" idx="14"/>
          </p:nvPr>
        </p:nvSpPr>
        <p:spPr>
          <a:xfrm>
            <a:off x="859443" y="4926808"/>
            <a:ext cx="6172552"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5" name="Content Placeholder 4"/>
          <p:cNvSpPr>
            <a:spLocks noGrp="1"/>
          </p:cNvSpPr>
          <p:nvPr>
            <p:ph sz="quarter" idx="17"/>
          </p:nvPr>
        </p:nvSpPr>
        <p:spPr>
          <a:xfrm>
            <a:off x="866301" y="1006078"/>
            <a:ext cx="7875589" cy="3455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20023735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kst 1 spalte">
    <p:spTree>
      <p:nvGrpSpPr>
        <p:cNvPr id="1" name=""/>
        <p:cNvGrpSpPr/>
        <p:nvPr/>
      </p:nvGrpSpPr>
      <p:grpSpPr>
        <a:xfrm>
          <a:off x="0" y="0"/>
          <a:ext cx="0" cy="0"/>
          <a:chOff x="0" y="0"/>
          <a:chExt cx="0" cy="0"/>
        </a:xfrm>
      </p:grpSpPr>
      <p:sp>
        <p:nvSpPr>
          <p:cNvPr id="10" name="Plassholder for lysbildenummer 5"/>
          <p:cNvSpPr>
            <a:spLocks noGrp="1"/>
          </p:cNvSpPr>
          <p:nvPr>
            <p:ph type="sldNum" sz="quarter" idx="13"/>
          </p:nvPr>
        </p:nvSpPr>
        <p:spPr>
          <a:xfrm>
            <a:off x="4193958" y="4803998"/>
            <a:ext cx="792088" cy="253770"/>
          </a:xfrm>
          <a:prstGeom prst="rect">
            <a:avLst/>
          </a:prstGeom>
        </p:spPr>
        <p:txBody>
          <a:bodyPr lIns="0" tIns="0" rIns="0" bIns="0"/>
          <a:lstStyle>
            <a:lvl1pPr algn="r">
              <a:defRPr sz="1600" b="0" i="0">
                <a:solidFill>
                  <a:schemeClr val="accent1"/>
                </a:solidFill>
                <a:latin typeface="Segoe UI" charset="0"/>
                <a:ea typeface="Segoe UI" charset="0"/>
                <a:cs typeface="Segoe UI" charset="0"/>
              </a:defRPr>
            </a:lvl1pPr>
          </a:lstStyle>
          <a:p>
            <a:pPr algn="ctr"/>
            <a:fld id="{FB0F92BC-E9B5-8747-84F4-872B61BA0272}" type="slidenum">
              <a:rPr lang="nb-NO" smtClean="0"/>
              <a:pPr algn="ctr"/>
              <a:t>‹#›</a:t>
            </a:fld>
            <a:endParaRPr lang="nb-NO" dirty="0"/>
          </a:p>
        </p:txBody>
      </p:sp>
      <p:sp>
        <p:nvSpPr>
          <p:cNvPr id="13" name="Content Placeholder 2"/>
          <p:cNvSpPr>
            <a:spLocks noGrp="1"/>
          </p:cNvSpPr>
          <p:nvPr>
            <p:ph idx="1"/>
          </p:nvPr>
        </p:nvSpPr>
        <p:spPr>
          <a:xfrm>
            <a:off x="539552" y="1275606"/>
            <a:ext cx="8100900" cy="3384376"/>
          </a:xfrm>
          <a:prstGeom prst="rect">
            <a:avLst/>
          </a:prstGeom>
        </p:spPr>
        <p:txBody>
          <a:bodyPr wrap="square" lIns="0" tIns="0" rIns="0" bIns="0" anchor="t" anchorCtr="0">
            <a:noAutofit/>
          </a:bodyPr>
          <a:lstStyle>
            <a:lvl1pPr marL="216000" indent="-180000">
              <a:lnSpc>
                <a:spcPct val="100000"/>
              </a:lnSpc>
              <a:spcBef>
                <a:spcPts val="600"/>
              </a:spcBef>
              <a:spcAft>
                <a:spcPts val="0"/>
              </a:spcAft>
              <a:buClr>
                <a:schemeClr val="accent1"/>
              </a:buClr>
              <a:buSzPct val="100000"/>
              <a:buFont typeface="Wingdings" charset="2"/>
              <a:buChar char="§"/>
              <a:defRPr sz="1400" baseline="0">
                <a:solidFill>
                  <a:schemeClr val="tx1"/>
                </a:solidFill>
                <a:latin typeface="Segoe UI"/>
              </a:defRPr>
            </a:lvl1pPr>
            <a:lvl2pPr marL="360000" indent="-144000">
              <a:lnSpc>
                <a:spcPct val="100000"/>
              </a:lnSpc>
              <a:spcBef>
                <a:spcPts val="600"/>
              </a:spcBef>
              <a:spcAft>
                <a:spcPts val="0"/>
              </a:spcAft>
              <a:buClr>
                <a:schemeClr val="accent1"/>
              </a:buClr>
              <a:buSzPct val="100000"/>
              <a:buFont typeface="Wingdings" charset="2"/>
              <a:buChar char="§"/>
              <a:defRPr sz="1200">
                <a:solidFill>
                  <a:schemeClr val="tx1"/>
                </a:solidFill>
                <a:latin typeface="Segoe UI"/>
              </a:defRPr>
            </a:lvl2pPr>
            <a:lvl3pPr marL="540000" indent="-144000">
              <a:lnSpc>
                <a:spcPct val="100000"/>
              </a:lnSpc>
              <a:spcBef>
                <a:spcPts val="600"/>
              </a:spcBef>
              <a:spcAft>
                <a:spcPts val="0"/>
              </a:spcAft>
              <a:buClr>
                <a:schemeClr val="accent1"/>
              </a:buClr>
              <a:buSzPct val="100000"/>
              <a:buFont typeface="Wingdings" charset="2"/>
              <a:buChar char="§"/>
              <a:tabLst>
                <a:tab pos="1446558" algn="l"/>
              </a:tabLst>
              <a:defRPr sz="1000">
                <a:solidFill>
                  <a:schemeClr val="tx1"/>
                </a:solidFill>
                <a:latin typeface="Segoe UI"/>
              </a:defRPr>
            </a:lvl3pPr>
            <a:lvl4pPr marL="1768015" indent="-349200">
              <a:lnSpc>
                <a:spcPct val="100000"/>
              </a:lnSpc>
              <a:spcBef>
                <a:spcPts val="1000"/>
              </a:spcBef>
              <a:spcAft>
                <a:spcPts val="0"/>
              </a:spcAft>
              <a:buSzPct val="125000"/>
              <a:buFont typeface="Wingdings" charset="2"/>
              <a:buChar char="§"/>
              <a:defRPr sz="1400"/>
            </a:lvl4pPr>
            <a:lvl5pPr marL="2143049" indent="-349200">
              <a:lnSpc>
                <a:spcPct val="100000"/>
              </a:lnSpc>
              <a:spcBef>
                <a:spcPts val="1000"/>
              </a:spcBef>
              <a:spcAft>
                <a:spcPts val="0"/>
              </a:spcAft>
              <a:buSzPct val="125000"/>
              <a:buFont typeface="Wingdings" charset="2"/>
              <a:buChar char="§"/>
              <a:defRPr sz="1200"/>
            </a:lvl5pPr>
            <a:lvl6pPr>
              <a:defRPr sz="1400"/>
            </a:lvl6pPr>
            <a:lvl7pPr>
              <a:defRPr sz="1400"/>
            </a:lvl7pPr>
            <a:lvl8pPr>
              <a:defRPr sz="1400"/>
            </a:lvl8pPr>
            <a:lvl9pPr>
              <a:defRPr sz="1400"/>
            </a:lvl9pPr>
          </a:lstStyle>
          <a:p>
            <a:pPr lvl="0"/>
            <a:r>
              <a:rPr lang="nb-NO" dirty="0"/>
              <a:t>Klikk for å redigere tekststiler i malen</a:t>
            </a:r>
          </a:p>
          <a:p>
            <a:pPr lvl="1"/>
            <a:r>
              <a:rPr lang="nb-NO" dirty="0"/>
              <a:t>Andre nivå</a:t>
            </a:r>
          </a:p>
          <a:p>
            <a:pPr lvl="2"/>
            <a:r>
              <a:rPr lang="nb-NO" dirty="0"/>
              <a:t>Tredje nivå</a:t>
            </a:r>
          </a:p>
        </p:txBody>
      </p:sp>
      <p:sp>
        <p:nvSpPr>
          <p:cNvPr id="16" name="Tittel 8"/>
          <p:cNvSpPr>
            <a:spLocks noGrp="1"/>
          </p:cNvSpPr>
          <p:nvPr>
            <p:ph type="title"/>
          </p:nvPr>
        </p:nvSpPr>
        <p:spPr>
          <a:xfrm>
            <a:off x="539552" y="411510"/>
            <a:ext cx="8100900" cy="540000"/>
          </a:xfrm>
          <a:prstGeom prst="rect">
            <a:avLst/>
          </a:prstGeom>
        </p:spPr>
        <p:txBody>
          <a:bodyPr lIns="36000" tIns="36000" rIns="36000" bIns="36000" anchor="ctr" anchorCtr="0"/>
          <a:lstStyle>
            <a:lvl1pPr algn="l">
              <a:defRPr sz="4000">
                <a:solidFill>
                  <a:schemeClr val="accent1"/>
                </a:solidFill>
                <a:effectLst/>
                <a:latin typeface="Segoe UI"/>
                <a:cs typeface="Segoe UI"/>
              </a:defRPr>
            </a:lvl1pPr>
          </a:lstStyle>
          <a:p>
            <a:r>
              <a:rPr lang="nb-NO" dirty="0"/>
              <a:t>Klikk for å redigere tittelstil</a:t>
            </a:r>
          </a:p>
        </p:txBody>
      </p:sp>
    </p:spTree>
    <p:extLst>
      <p:ext uri="{BB962C8B-B14F-4D97-AF65-F5344CB8AC3E}">
        <p14:creationId xmlns:p14="http://schemas.microsoft.com/office/powerpoint/2010/main" val="2450119300"/>
      </p:ext>
    </p:extLst>
  </p:cSld>
  <p:clrMapOvr>
    <a:masterClrMapping/>
  </p:clrMapOvr>
  <p:transition spd="med" advClick="0">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om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2482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column with heading">
    <p:spTree>
      <p:nvGrpSpPr>
        <p:cNvPr id="1" name=""/>
        <p:cNvGrpSpPr/>
        <p:nvPr/>
      </p:nvGrpSpPr>
      <p:grpSpPr>
        <a:xfrm>
          <a:off x="0" y="0"/>
          <a:ext cx="0" cy="0"/>
          <a:chOff x="0" y="0"/>
          <a:chExt cx="0" cy="0"/>
        </a:xfrm>
      </p:grpSpPr>
      <p:sp>
        <p:nvSpPr>
          <p:cNvPr id="7" name="Text Placeholder 7"/>
          <p:cNvSpPr>
            <a:spLocks noGrp="1"/>
          </p:cNvSpPr>
          <p:nvPr>
            <p:ph type="body" sz="quarter" idx="15"/>
          </p:nvPr>
        </p:nvSpPr>
        <p:spPr>
          <a:xfrm>
            <a:off x="863601" y="1006079"/>
            <a:ext cx="7885113" cy="264049"/>
          </a:xfrm>
        </p:spPr>
        <p:txBody>
          <a:bodyPr>
            <a:noAutofit/>
          </a:bodyPr>
          <a:lstStyle>
            <a:lvl1pPr marL="0" indent="0">
              <a:buNone/>
              <a:defRPr sz="2400" b="1"/>
            </a:lvl1pPr>
          </a:lstStyle>
          <a:p>
            <a:pPr lvl="0"/>
            <a:r>
              <a:rPr lang="en-US"/>
              <a:t>Click to edit Master text styles</a:t>
            </a:r>
          </a:p>
        </p:txBody>
      </p:sp>
      <p:sp>
        <p:nvSpPr>
          <p:cNvPr id="3" name="Slide Number Placeholder 2"/>
          <p:cNvSpPr>
            <a:spLocks noGrp="1"/>
          </p:cNvSpPr>
          <p:nvPr>
            <p:ph type="sldNum" sz="quarter" idx="16"/>
          </p:nvPr>
        </p:nvSpPr>
        <p:spPr/>
        <p:txBody>
          <a:bodyPr/>
          <a:lstStyle/>
          <a:p>
            <a:fld id="{DE050E36-BA33-43C0-AE7D-FD2A806B7DFE}" type="slidenum">
              <a:rPr lang="en-GB" smtClean="0"/>
              <a:pPr/>
              <a:t>‹#›</a:t>
            </a:fld>
            <a:endParaRPr lang="en-GB"/>
          </a:p>
        </p:txBody>
      </p:sp>
      <p:sp>
        <p:nvSpPr>
          <p:cNvPr id="5" name="Content Placeholder 4"/>
          <p:cNvSpPr>
            <a:spLocks noGrp="1"/>
          </p:cNvSpPr>
          <p:nvPr>
            <p:ph sz="quarter" idx="17"/>
          </p:nvPr>
        </p:nvSpPr>
        <p:spPr>
          <a:xfrm>
            <a:off x="863601" y="1329613"/>
            <a:ext cx="7885113" cy="31328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9"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189950618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fld id="{DE050E36-BA33-43C0-AE7D-FD2A806B7DFE}" type="slidenum">
              <a:rPr lang="en-GB" smtClean="0"/>
              <a:pPr/>
              <a:t>‹#›</a:t>
            </a:fld>
            <a:endParaRPr lang="en-GB"/>
          </a:p>
        </p:txBody>
      </p:sp>
      <p:sp>
        <p:nvSpPr>
          <p:cNvPr id="10"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1"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3730147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2864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DE050E36-BA33-43C0-AE7D-FD2A806B7DFE}" type="slidenum">
              <a:rPr lang="en-GB" smtClean="0"/>
              <a:pPr/>
              <a:t>‹#›</a:t>
            </a:fld>
            <a:endParaRPr lang="en-GB"/>
          </a:p>
        </p:txBody>
      </p:sp>
      <p:sp>
        <p:nvSpPr>
          <p:cNvPr id="7" name="Content Placeholder 6"/>
          <p:cNvSpPr>
            <a:spLocks noGrp="1"/>
          </p:cNvSpPr>
          <p:nvPr>
            <p:ph sz="quarter" idx="16"/>
          </p:nvPr>
        </p:nvSpPr>
        <p:spPr>
          <a:xfrm>
            <a:off x="863601" y="1006033"/>
            <a:ext cx="3816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6"/>
          <p:cNvSpPr>
            <a:spLocks noGrp="1"/>
          </p:cNvSpPr>
          <p:nvPr>
            <p:ph sz="quarter" idx="17"/>
          </p:nvPr>
        </p:nvSpPr>
        <p:spPr>
          <a:xfrm>
            <a:off x="4932041" y="1005318"/>
            <a:ext cx="3816673"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3"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351793961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column narrow left">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DE050E36-BA33-43C0-AE7D-FD2A806B7DFE}" type="slidenum">
              <a:rPr lang="en-GB" smtClean="0"/>
              <a:pPr/>
              <a:t>‹#›</a:t>
            </a:fld>
            <a:endParaRPr lang="en-GB"/>
          </a:p>
        </p:txBody>
      </p:sp>
      <p:sp>
        <p:nvSpPr>
          <p:cNvPr id="7" name="Content Placeholder 6"/>
          <p:cNvSpPr>
            <a:spLocks noGrp="1"/>
          </p:cNvSpPr>
          <p:nvPr>
            <p:ph sz="quarter" idx="16"/>
          </p:nvPr>
        </p:nvSpPr>
        <p:spPr>
          <a:xfrm>
            <a:off x="863600" y="1006079"/>
            <a:ext cx="2592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6"/>
          <p:cNvSpPr>
            <a:spLocks noGrp="1"/>
          </p:cNvSpPr>
          <p:nvPr>
            <p:ph sz="quarter" idx="17"/>
          </p:nvPr>
        </p:nvSpPr>
        <p:spPr>
          <a:xfrm>
            <a:off x="3564464" y="1006079"/>
            <a:ext cx="5184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2"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3434859192"/>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narrow right">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fld id="{DE050E36-BA33-43C0-AE7D-FD2A806B7DFE}" type="slidenum">
              <a:rPr lang="en-GB" smtClean="0"/>
              <a:pPr/>
              <a:t>‹#›</a:t>
            </a:fld>
            <a:endParaRPr lang="en-GB"/>
          </a:p>
        </p:txBody>
      </p:sp>
      <p:sp>
        <p:nvSpPr>
          <p:cNvPr id="11" name="Content Placeholder 6"/>
          <p:cNvSpPr>
            <a:spLocks noGrp="1"/>
          </p:cNvSpPr>
          <p:nvPr>
            <p:ph sz="quarter" idx="16"/>
          </p:nvPr>
        </p:nvSpPr>
        <p:spPr>
          <a:xfrm>
            <a:off x="863599" y="1006079"/>
            <a:ext cx="5184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Content Placeholder 6"/>
          <p:cNvSpPr>
            <a:spLocks noGrp="1"/>
          </p:cNvSpPr>
          <p:nvPr>
            <p:ph sz="quarter" idx="17"/>
          </p:nvPr>
        </p:nvSpPr>
        <p:spPr>
          <a:xfrm>
            <a:off x="6156464" y="1006079"/>
            <a:ext cx="2592000" cy="3456384"/>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3"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8"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343485919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5" name="Slide Number Placeholder 4"/>
          <p:cNvSpPr>
            <a:spLocks noGrp="1"/>
          </p:cNvSpPr>
          <p:nvPr>
            <p:ph type="sldNum" sz="quarter" idx="17"/>
          </p:nvPr>
        </p:nvSpPr>
        <p:spPr/>
        <p:txBody>
          <a:bodyPr/>
          <a:lstStyle/>
          <a:p>
            <a:fld id="{DE050E36-BA33-43C0-AE7D-FD2A806B7DFE}" type="slidenum">
              <a:rPr lang="en-GB" smtClean="0"/>
              <a:pPr/>
              <a:t>‹#›</a:t>
            </a:fld>
            <a:endParaRPr lang="en-GB"/>
          </a:p>
        </p:txBody>
      </p:sp>
      <p:sp>
        <p:nvSpPr>
          <p:cNvPr id="13" name="Content Placeholder 6"/>
          <p:cNvSpPr>
            <a:spLocks noGrp="1"/>
          </p:cNvSpPr>
          <p:nvPr>
            <p:ph sz="quarter" idx="16"/>
          </p:nvPr>
        </p:nvSpPr>
        <p:spPr>
          <a:xfrm>
            <a:off x="863600" y="1004367"/>
            <a:ext cx="3852415" cy="1674000"/>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6"/>
          <p:cNvSpPr>
            <a:spLocks noGrp="1"/>
          </p:cNvSpPr>
          <p:nvPr>
            <p:ph sz="quarter" idx="19"/>
          </p:nvPr>
        </p:nvSpPr>
        <p:spPr>
          <a:xfrm>
            <a:off x="4877050" y="1006078"/>
            <a:ext cx="3852000" cy="1674000"/>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Content Placeholder 6"/>
          <p:cNvSpPr>
            <a:spLocks noGrp="1"/>
          </p:cNvSpPr>
          <p:nvPr>
            <p:ph sz="quarter" idx="20"/>
          </p:nvPr>
        </p:nvSpPr>
        <p:spPr>
          <a:xfrm>
            <a:off x="863601" y="2790935"/>
            <a:ext cx="3852566" cy="1671528"/>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Content Placeholder 6"/>
          <p:cNvSpPr>
            <a:spLocks noGrp="1"/>
          </p:cNvSpPr>
          <p:nvPr>
            <p:ph sz="quarter" idx="21"/>
          </p:nvPr>
        </p:nvSpPr>
        <p:spPr>
          <a:xfrm>
            <a:off x="4876801" y="2787775"/>
            <a:ext cx="3852000" cy="1674590"/>
          </a:xfrm>
        </p:spPr>
        <p:txBody>
          <a:bodyPr>
            <a:normAutofit/>
          </a:bodyPr>
          <a:lstStyle>
            <a:lvl1pPr>
              <a:defRPr sz="24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5"/>
          <p:cNvSpPr>
            <a:spLocks noGrp="1"/>
          </p:cNvSpPr>
          <p:nvPr>
            <p:ph type="body" sz="quarter" idx="14"/>
          </p:nvPr>
        </p:nvSpPr>
        <p:spPr>
          <a:xfrm>
            <a:off x="860688" y="4926807"/>
            <a:ext cx="6171307" cy="216693"/>
          </a:xfrm>
        </p:spPr>
        <p:txBody>
          <a:bodyPr tIns="36000" bIns="0" anchor="t" anchorCtr="0">
            <a:normAutofit/>
          </a:bodyPr>
          <a:lstStyle>
            <a:lvl1pPr marL="0" indent="0">
              <a:buFontTx/>
              <a:buNone/>
              <a:defRPr sz="1000">
                <a:solidFill>
                  <a:schemeClr val="bg1">
                    <a:lumMod val="65000"/>
                  </a:schemeClr>
                </a:solidFill>
              </a:defRPr>
            </a:lvl1pPr>
          </a:lstStyle>
          <a:p>
            <a:pPr lvl="0"/>
            <a:r>
              <a:rPr lang="en-US"/>
              <a:t>Click to edit Master text styles</a:t>
            </a:r>
          </a:p>
        </p:txBody>
      </p:sp>
      <p:sp>
        <p:nvSpPr>
          <p:cNvPr id="17" name="Text Placeholder 4"/>
          <p:cNvSpPr>
            <a:spLocks noGrp="1"/>
          </p:cNvSpPr>
          <p:nvPr>
            <p:ph type="body" sz="quarter" idx="12"/>
          </p:nvPr>
        </p:nvSpPr>
        <p:spPr>
          <a:xfrm>
            <a:off x="4788024" y="87475"/>
            <a:ext cx="3960000" cy="132197"/>
          </a:xfrm>
        </p:spPr>
        <p:txBody>
          <a:bodyPr lIns="36000" tIns="18000" rIns="0" bIns="18000">
            <a:normAutofit/>
          </a:bodyPr>
          <a:lstStyle>
            <a:lvl1pPr marL="0" indent="0" algn="r">
              <a:buFontTx/>
              <a:buNone/>
              <a:defRPr sz="1000" baseline="0">
                <a:solidFill>
                  <a:schemeClr val="bg1">
                    <a:lumMod val="65000"/>
                  </a:schemeClr>
                </a:solidFill>
              </a:defRPr>
            </a:lvl1pPr>
          </a:lstStyle>
          <a:p>
            <a:pPr lvl="0"/>
            <a:r>
              <a:rPr lang="en-US"/>
              <a:t>Click to edit Master text styles</a:t>
            </a:r>
          </a:p>
        </p:txBody>
      </p:sp>
      <p:sp>
        <p:nvSpPr>
          <p:cNvPr id="10" name="Title 1"/>
          <p:cNvSpPr>
            <a:spLocks noGrp="1"/>
          </p:cNvSpPr>
          <p:nvPr>
            <p:ph type="title"/>
          </p:nvPr>
        </p:nvSpPr>
        <p:spPr>
          <a:xfrm>
            <a:off x="873123" y="249158"/>
            <a:ext cx="7875590" cy="702152"/>
          </a:xfrm>
        </p:spPr>
        <p:txBody>
          <a:bodyPr/>
          <a:lstStyle/>
          <a:p>
            <a:r>
              <a:rPr lang="en-US"/>
              <a:t>Click to edit Master title style</a:t>
            </a:r>
            <a:endParaRPr lang="en-GB" dirty="0"/>
          </a:p>
        </p:txBody>
      </p:sp>
    </p:spTree>
    <p:extLst>
      <p:ext uri="{BB962C8B-B14F-4D97-AF65-F5344CB8AC3E}">
        <p14:creationId xmlns:p14="http://schemas.microsoft.com/office/powerpoint/2010/main" val="252386716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image" Target="../media/image1.pn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 name="Bilde 3" descr="EXTENDED_PPT_BOTTOM.png"/>
          <p:cNvPicPr>
            <a:picLocks noChangeAspect="1"/>
          </p:cNvPicPr>
          <p:nvPr/>
        </p:nvPicPr>
        <p:blipFill rotWithShape="1">
          <a:blip r:embed="rId15" cstate="print">
            <a:extLst>
              <a:ext uri="{28A0092B-C50C-407E-A947-70E740481C1C}">
                <a14:useLocalDpi xmlns:a14="http://schemas.microsoft.com/office/drawing/2010/main" val="0"/>
              </a:ext>
            </a:extLst>
          </a:blip>
          <a:srcRect l="57405" r="5041"/>
          <a:stretch/>
        </p:blipFill>
        <p:spPr>
          <a:xfrm>
            <a:off x="64153" y="-1024"/>
            <a:ext cx="875656" cy="5143511"/>
          </a:xfrm>
          <a:prstGeom prst="rect">
            <a:avLst/>
          </a:prstGeom>
        </p:spPr>
      </p:pic>
      <p:sp>
        <p:nvSpPr>
          <p:cNvPr id="2" name="Title Placeholder 1"/>
          <p:cNvSpPr>
            <a:spLocks noGrp="1"/>
          </p:cNvSpPr>
          <p:nvPr>
            <p:ph type="title"/>
          </p:nvPr>
        </p:nvSpPr>
        <p:spPr>
          <a:xfrm>
            <a:off x="873125" y="249158"/>
            <a:ext cx="7868057" cy="702152"/>
          </a:xfrm>
          <a:prstGeom prst="rect">
            <a:avLst/>
          </a:prstGeom>
        </p:spPr>
        <p:txBody>
          <a:bodyPr vert="horz" lIns="91440" tIns="45720" rIns="91440" bIns="45720" rtlCol="0" anchor="b" anchorCtr="0">
            <a:noAutofit/>
          </a:bodyPr>
          <a:lstStyle/>
          <a:p>
            <a:r>
              <a:rPr lang="nb-NO" dirty="0"/>
              <a:t>Klikk for å redigere tittelstil</a:t>
            </a:r>
          </a:p>
        </p:txBody>
      </p:sp>
      <p:sp>
        <p:nvSpPr>
          <p:cNvPr id="3" name="Text Placeholder 2"/>
          <p:cNvSpPr>
            <a:spLocks noGrp="1"/>
          </p:cNvSpPr>
          <p:nvPr>
            <p:ph type="body" idx="1"/>
          </p:nvPr>
        </p:nvSpPr>
        <p:spPr>
          <a:xfrm>
            <a:off x="865317" y="1006079"/>
            <a:ext cx="7884000" cy="3456000"/>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Slide Number Placeholder 5"/>
          <p:cNvSpPr>
            <a:spLocks noGrp="1"/>
          </p:cNvSpPr>
          <p:nvPr>
            <p:ph type="sldNum" sz="quarter" idx="4"/>
          </p:nvPr>
        </p:nvSpPr>
        <p:spPr>
          <a:xfrm>
            <a:off x="8007419" y="4922713"/>
            <a:ext cx="731158" cy="171569"/>
          </a:xfrm>
          <a:prstGeom prst="rect">
            <a:avLst/>
          </a:prstGeom>
        </p:spPr>
        <p:txBody>
          <a:bodyPr vert="horz" lIns="0" tIns="36000" rIns="0" bIns="45720" rtlCol="0" anchor="t" anchorCtr="0"/>
          <a:lstStyle>
            <a:lvl1pPr algn="r">
              <a:defRPr sz="1000">
                <a:solidFill>
                  <a:schemeClr val="bg1">
                    <a:lumMod val="65000"/>
                  </a:schemeClr>
                </a:solidFill>
              </a:defRPr>
            </a:lvl1pPr>
          </a:lstStyle>
          <a:p>
            <a:fld id="{DE050E36-BA33-43C0-AE7D-FD2A806B7DFE}" type="slidenum">
              <a:rPr lang="nb-NO" smtClean="0"/>
              <a:pPr/>
              <a:t>‹#›</a:t>
            </a:fld>
            <a:endParaRPr lang="nb-NO" dirty="0"/>
          </a:p>
        </p:txBody>
      </p:sp>
      <p:sp>
        <p:nvSpPr>
          <p:cNvPr id="4" name="TextBox 3"/>
          <p:cNvSpPr txBox="1"/>
          <p:nvPr/>
        </p:nvSpPr>
        <p:spPr>
          <a:xfrm>
            <a:off x="6876256" y="4677984"/>
            <a:ext cx="1944216" cy="246221"/>
          </a:xfrm>
          <a:prstGeom prst="rect">
            <a:avLst/>
          </a:prstGeom>
          <a:noFill/>
        </p:spPr>
        <p:txBody>
          <a:bodyPr wrap="square" rtlCol="0">
            <a:spAutoFit/>
          </a:bodyPr>
          <a:lstStyle/>
          <a:p>
            <a:pPr marL="0" indent="0" algn="r">
              <a:buClr>
                <a:schemeClr val="accent2"/>
              </a:buClr>
              <a:buFont typeface="Wingdings" pitchFamily="2" charset="2"/>
              <a:buNone/>
            </a:pPr>
            <a:r>
              <a:rPr lang="nb-NO" sz="1000" dirty="0"/>
              <a:t>DNB</a:t>
            </a:r>
            <a:r>
              <a:rPr lang="nb-NO" sz="1000" baseline="0" dirty="0"/>
              <a:t> Seafood</a:t>
            </a:r>
            <a:endParaRPr lang="nb-NO" sz="1000" dirty="0"/>
          </a:p>
        </p:txBody>
      </p:sp>
    </p:spTree>
    <p:extLst>
      <p:ext uri="{BB962C8B-B14F-4D97-AF65-F5344CB8AC3E}">
        <p14:creationId xmlns:p14="http://schemas.microsoft.com/office/powerpoint/2010/main" val="2106581118"/>
      </p:ext>
    </p:extLst>
  </p:cSld>
  <p:clrMap bg1="dk1" tx1="lt1" bg2="dk2" tx2="lt2" accent1="accent1" accent2="accent2" accent3="accent3" accent4="accent4" accent5="accent5" accent6="accent6" hlink="hlink" folHlink="folHlink"/>
  <p:sldLayoutIdLst>
    <p:sldLayoutId id="2147483707" r:id="rId1"/>
    <p:sldLayoutId id="2147483717" r:id="rId2"/>
    <p:sldLayoutId id="2147483709" r:id="rId3"/>
    <p:sldLayoutId id="2147483710" r:id="rId4"/>
    <p:sldLayoutId id="2147483716" r:id="rId5"/>
    <p:sldLayoutId id="2147483712" r:id="rId6"/>
    <p:sldLayoutId id="2147483713" r:id="rId7"/>
    <p:sldLayoutId id="2147483714" r:id="rId8"/>
    <p:sldLayoutId id="2147483715" r:id="rId9"/>
    <p:sldLayoutId id="2147483721" r:id="rId10"/>
    <p:sldLayoutId id="2147483773" r:id="rId11"/>
    <p:sldLayoutId id="2147483795" r:id="rId12"/>
    <p:sldLayoutId id="2147483796" r:id="rId13"/>
  </p:sldLayoutIdLst>
  <p:hf hdr="0" ft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266700" indent="-266700" algn="l" defTabSz="914400" rtl="0" eaLnBrk="1" latinLnBrk="0" hangingPunct="1">
        <a:spcBef>
          <a:spcPct val="20000"/>
        </a:spcBef>
        <a:buClr>
          <a:schemeClr val="accent2"/>
        </a:buClr>
        <a:buFont typeface="Arial" pitchFamily="34" charset="0"/>
        <a:buChar char="•"/>
        <a:defRPr sz="2400" kern="1200">
          <a:solidFill>
            <a:schemeClr val="tx1"/>
          </a:solidFill>
          <a:latin typeface="+mn-lt"/>
          <a:ea typeface="+mn-ea"/>
          <a:cs typeface="+mn-cs"/>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 name="Bilde 3" descr="EXTENDED_PPT_BOTTOM.png"/>
          <p:cNvPicPr>
            <a:picLocks noChangeAspect="1"/>
          </p:cNvPicPr>
          <p:nvPr/>
        </p:nvPicPr>
        <p:blipFill rotWithShape="1">
          <a:blip r:embed="rId16" cstate="print">
            <a:extLst>
              <a:ext uri="{28A0092B-C50C-407E-A947-70E740481C1C}">
                <a14:useLocalDpi xmlns:a14="http://schemas.microsoft.com/office/drawing/2010/main" val="0"/>
              </a:ext>
            </a:extLst>
          </a:blip>
          <a:srcRect l="57405" r="5041"/>
          <a:stretch/>
        </p:blipFill>
        <p:spPr>
          <a:xfrm>
            <a:off x="64153" y="-1024"/>
            <a:ext cx="875656" cy="5143511"/>
          </a:xfrm>
          <a:prstGeom prst="rect">
            <a:avLst/>
          </a:prstGeom>
        </p:spPr>
      </p:pic>
      <p:sp>
        <p:nvSpPr>
          <p:cNvPr id="2" name="Title Placeholder 1"/>
          <p:cNvSpPr>
            <a:spLocks noGrp="1"/>
          </p:cNvSpPr>
          <p:nvPr>
            <p:ph type="title"/>
          </p:nvPr>
        </p:nvSpPr>
        <p:spPr>
          <a:xfrm>
            <a:off x="873125" y="249158"/>
            <a:ext cx="7868057" cy="702152"/>
          </a:xfrm>
          <a:prstGeom prst="rect">
            <a:avLst/>
          </a:prstGeom>
        </p:spPr>
        <p:txBody>
          <a:bodyPr vert="horz" lIns="91440" tIns="45720" rIns="91440" bIns="45720" rtlCol="0" anchor="b" anchorCtr="0">
            <a:noAutofit/>
          </a:bodyPr>
          <a:lstStyle/>
          <a:p>
            <a:r>
              <a:rPr lang="nb-NO" dirty="0"/>
              <a:t>Klikk for å redigere tittelstil</a:t>
            </a:r>
          </a:p>
        </p:txBody>
      </p:sp>
      <p:sp>
        <p:nvSpPr>
          <p:cNvPr id="3" name="Text Placeholder 2"/>
          <p:cNvSpPr>
            <a:spLocks noGrp="1"/>
          </p:cNvSpPr>
          <p:nvPr>
            <p:ph type="body" idx="1"/>
          </p:nvPr>
        </p:nvSpPr>
        <p:spPr>
          <a:xfrm>
            <a:off x="865317" y="1006079"/>
            <a:ext cx="7884000" cy="3456000"/>
          </a:xfrm>
          <a:prstGeom prst="rect">
            <a:avLst/>
          </a:prstGeom>
        </p:spPr>
        <p:txBody>
          <a:bodyPr vert="horz" lIns="91440" tIns="45720" rIns="91440" bIns="4572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6" name="Slide Number Placeholder 5"/>
          <p:cNvSpPr>
            <a:spLocks noGrp="1"/>
          </p:cNvSpPr>
          <p:nvPr>
            <p:ph type="sldNum" sz="quarter" idx="4"/>
          </p:nvPr>
        </p:nvSpPr>
        <p:spPr>
          <a:xfrm>
            <a:off x="8007419" y="4922713"/>
            <a:ext cx="731158" cy="171569"/>
          </a:xfrm>
          <a:prstGeom prst="rect">
            <a:avLst/>
          </a:prstGeom>
        </p:spPr>
        <p:txBody>
          <a:bodyPr vert="horz" lIns="0" tIns="36000" rIns="0" bIns="45720" rtlCol="0" anchor="t" anchorCtr="0"/>
          <a:lstStyle>
            <a:lvl1pPr algn="r">
              <a:defRPr sz="1000">
                <a:solidFill>
                  <a:schemeClr val="bg1">
                    <a:lumMod val="65000"/>
                  </a:schemeClr>
                </a:solidFill>
              </a:defRPr>
            </a:lvl1pPr>
          </a:lstStyle>
          <a:p>
            <a:fld id="{DE050E36-BA33-43C0-AE7D-FD2A806B7DFE}" type="slidenum">
              <a:rPr lang="nb-NO" smtClean="0"/>
              <a:pPr/>
              <a:t>‹#›</a:t>
            </a:fld>
            <a:endParaRPr lang="nb-NO" dirty="0"/>
          </a:p>
        </p:txBody>
      </p:sp>
      <p:sp>
        <p:nvSpPr>
          <p:cNvPr id="4" name="TextBox 3"/>
          <p:cNvSpPr txBox="1"/>
          <p:nvPr/>
        </p:nvSpPr>
        <p:spPr>
          <a:xfrm>
            <a:off x="6876256" y="4677984"/>
            <a:ext cx="1944216" cy="246221"/>
          </a:xfrm>
          <a:prstGeom prst="rect">
            <a:avLst/>
          </a:prstGeom>
          <a:noFill/>
        </p:spPr>
        <p:txBody>
          <a:bodyPr wrap="square" rtlCol="0">
            <a:spAutoFit/>
          </a:bodyPr>
          <a:lstStyle/>
          <a:p>
            <a:pPr marL="0" indent="0" algn="r">
              <a:buClr>
                <a:schemeClr val="accent2"/>
              </a:buClr>
              <a:buFont typeface="Wingdings" pitchFamily="2" charset="2"/>
              <a:buNone/>
            </a:pPr>
            <a:r>
              <a:rPr lang="nb-NO" sz="1000" dirty="0"/>
              <a:t>DNB</a:t>
            </a:r>
            <a:r>
              <a:rPr lang="nb-NO" sz="1000" baseline="0" dirty="0"/>
              <a:t> Seafood</a:t>
            </a:r>
            <a:endParaRPr lang="nb-NO" sz="1000" dirty="0"/>
          </a:p>
        </p:txBody>
      </p:sp>
    </p:spTree>
    <p:extLst>
      <p:ext uri="{BB962C8B-B14F-4D97-AF65-F5344CB8AC3E}">
        <p14:creationId xmlns:p14="http://schemas.microsoft.com/office/powerpoint/2010/main" val="1213201102"/>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1" r:id="rId13"/>
    <p:sldLayoutId id="2147483792" r:id="rId14"/>
  </p:sldLayoutIdLst>
  <p:hf hdr="0" ftr="0" dt="0"/>
  <p:txStyles>
    <p:titleStyle>
      <a:lvl1pPr algn="l" defTabSz="914400" rtl="0" eaLnBrk="1" latinLnBrk="0" hangingPunct="1">
        <a:spcBef>
          <a:spcPct val="0"/>
        </a:spcBef>
        <a:buNone/>
        <a:defRPr sz="2800" kern="1200">
          <a:solidFill>
            <a:schemeClr val="accent2"/>
          </a:solidFill>
          <a:latin typeface="+mj-lt"/>
          <a:ea typeface="+mj-ea"/>
          <a:cs typeface="+mj-cs"/>
        </a:defRPr>
      </a:lvl1pPr>
    </p:titleStyle>
    <p:bodyStyle>
      <a:lvl1pPr marL="266700" indent="-266700" algn="l" defTabSz="914400" rtl="0" eaLnBrk="1" latinLnBrk="0" hangingPunct="1">
        <a:spcBef>
          <a:spcPct val="20000"/>
        </a:spcBef>
        <a:buClr>
          <a:schemeClr val="accent2"/>
        </a:buClr>
        <a:buFont typeface="Arial" pitchFamily="34" charset="0"/>
        <a:buChar char="•"/>
        <a:defRPr sz="2400" kern="1200">
          <a:solidFill>
            <a:schemeClr val="tx1"/>
          </a:solidFill>
          <a:latin typeface="+mn-lt"/>
          <a:ea typeface="+mn-ea"/>
          <a:cs typeface="+mn-cs"/>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eg"/><Relationship Id="rId7" Type="http://schemas.openxmlformats.org/officeDocument/2006/relationships/image" Target="../media/image30.jpeg"/><Relationship Id="rId12" Type="http://schemas.openxmlformats.org/officeDocument/2006/relationships/image" Target="../media/image35.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9.jpe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jpeg"/><Relationship Id="rId9"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1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3.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4.xml"/><Relationship Id="rId1" Type="http://schemas.openxmlformats.org/officeDocument/2006/relationships/slideLayout" Target="../slideLayouts/slideLayout6.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5.svg"/><Relationship Id="rId9" Type="http://schemas.openxmlformats.org/officeDocument/2006/relationships/image" Target="../media/image50.png"/></Relationships>
</file>

<file path=ppt/slides/_rels/slide25.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5.xml"/><Relationship Id="rId1" Type="http://schemas.openxmlformats.org/officeDocument/2006/relationships/slideLayout" Target="../slideLayouts/slideLayout11.xml"/><Relationship Id="rId5" Type="http://schemas.openxmlformats.org/officeDocument/2006/relationships/image" Target="../media/image53.png"/><Relationship Id="rId4" Type="http://schemas.openxmlformats.org/officeDocument/2006/relationships/image" Target="../media/image52.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8.sv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sv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95536" y="3507854"/>
            <a:ext cx="6984776" cy="702152"/>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600" kern="1200">
                <a:solidFill>
                  <a:schemeClr val="accent2"/>
                </a:solidFill>
                <a:latin typeface="+mj-lt"/>
                <a:ea typeface="+mj-ea"/>
                <a:cs typeface="+mj-cs"/>
              </a:defRPr>
            </a:lvl1pPr>
          </a:lstStyle>
          <a:p>
            <a:r>
              <a:rPr lang="en-US" sz="3500" i="1" dirty="0"/>
              <a:t>Sustainability Trends in Salmon</a:t>
            </a:r>
          </a:p>
          <a:p>
            <a:r>
              <a:rPr lang="en-US" sz="2800" i="1" dirty="0"/>
              <a:t>and Green &amp; Sustainability Linked Finance</a:t>
            </a:r>
            <a:endParaRPr lang="en-US" sz="2800" dirty="0"/>
          </a:p>
          <a:p>
            <a:endParaRPr lang="en-US" sz="1000" dirty="0"/>
          </a:p>
          <a:p>
            <a:endParaRPr lang="en-US" sz="1200" dirty="0"/>
          </a:p>
          <a:p>
            <a:r>
              <a:rPr lang="en-US" sz="1200" dirty="0">
                <a:effectLst/>
                <a:ea typeface="Calibri" panose="020F0502020204030204" pitchFamily="34" charset="0"/>
              </a:rPr>
              <a:t>Seminar on Sustainable Aquaculture and Fisheries </a:t>
            </a:r>
            <a:endParaRPr lang="en-US" sz="1200" dirty="0"/>
          </a:p>
          <a:p>
            <a:r>
              <a:rPr lang="en-US" sz="1200" dirty="0"/>
              <a:t>Norwegian Embassy in Santiago, 30 May 2023</a:t>
            </a:r>
          </a:p>
          <a:p>
            <a:endParaRPr lang="en-US" sz="1200" dirty="0"/>
          </a:p>
          <a:p>
            <a:r>
              <a:rPr lang="en-US" sz="1200" dirty="0"/>
              <a:t>Dag Sletmo, dag.sletmo@dnb.no</a:t>
            </a:r>
          </a:p>
          <a:p>
            <a:endParaRPr lang="en-US" sz="1600" dirty="0"/>
          </a:p>
        </p:txBody>
      </p:sp>
    </p:spTree>
    <p:extLst>
      <p:ext uri="{BB962C8B-B14F-4D97-AF65-F5344CB8AC3E}">
        <p14:creationId xmlns:p14="http://schemas.microsoft.com/office/powerpoint/2010/main" val="9331070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B6F8508-4C01-4774-B79A-F471331DB4B5}"/>
              </a:ext>
            </a:extLst>
          </p:cNvPr>
          <p:cNvSpPr>
            <a:spLocks noGrp="1"/>
          </p:cNvSpPr>
          <p:nvPr>
            <p:ph type="sldNum" sz="quarter" idx="15"/>
          </p:nvPr>
        </p:nvSpPr>
        <p:spPr/>
        <p:txBody>
          <a:bodyPr/>
          <a:lstStyle/>
          <a:p>
            <a:fld id="{DE050E36-BA33-43C0-AE7D-FD2A806B7DFE}" type="slidenum">
              <a:rPr lang="en-US" smtClean="0"/>
              <a:pPr/>
              <a:t>10</a:t>
            </a:fld>
            <a:endParaRPr lang="en-US"/>
          </a:p>
        </p:txBody>
      </p:sp>
      <p:sp>
        <p:nvSpPr>
          <p:cNvPr id="6" name="Text Placeholder 5">
            <a:extLst>
              <a:ext uri="{FF2B5EF4-FFF2-40B4-BE49-F238E27FC236}">
                <a16:creationId xmlns:a16="http://schemas.microsoft.com/office/drawing/2014/main" id="{D446A243-66F8-44CF-BE1A-6C0B756B263A}"/>
              </a:ext>
            </a:extLst>
          </p:cNvPr>
          <p:cNvSpPr>
            <a:spLocks noGrp="1"/>
          </p:cNvSpPr>
          <p:nvPr>
            <p:ph type="body" sz="quarter" idx="12"/>
          </p:nvPr>
        </p:nvSpPr>
        <p:spPr/>
        <p:txBody>
          <a:bodyPr>
            <a:normAutofit fontScale="70000" lnSpcReduction="20000"/>
          </a:bodyPr>
          <a:lstStyle/>
          <a:p>
            <a:endParaRPr lang="en-US"/>
          </a:p>
        </p:txBody>
      </p:sp>
      <p:sp>
        <p:nvSpPr>
          <p:cNvPr id="7" name="Title 6">
            <a:extLst>
              <a:ext uri="{FF2B5EF4-FFF2-40B4-BE49-F238E27FC236}">
                <a16:creationId xmlns:a16="http://schemas.microsoft.com/office/drawing/2014/main" id="{839A5D51-5623-4AE8-BE84-5D638F84B2D8}"/>
              </a:ext>
            </a:extLst>
          </p:cNvPr>
          <p:cNvSpPr>
            <a:spLocks noGrp="1"/>
          </p:cNvSpPr>
          <p:nvPr>
            <p:ph type="title"/>
          </p:nvPr>
        </p:nvSpPr>
        <p:spPr>
          <a:xfrm>
            <a:off x="948818" y="651185"/>
            <a:ext cx="7583622" cy="320916"/>
          </a:xfrm>
        </p:spPr>
        <p:txBody>
          <a:bodyPr/>
          <a:lstStyle/>
          <a:p>
            <a:r>
              <a:rPr lang="en-US" u="sng"/>
              <a:t>«Energy Transition»</a:t>
            </a:r>
            <a:r>
              <a:rPr lang="en-US"/>
              <a:t> vs «</a:t>
            </a:r>
            <a:r>
              <a:rPr lang="en-US" u="sng"/>
              <a:t>Food Transition»</a:t>
            </a:r>
          </a:p>
        </p:txBody>
      </p:sp>
      <p:pic>
        <p:nvPicPr>
          <p:cNvPr id="9" name="Picture 8">
            <a:extLst>
              <a:ext uri="{FF2B5EF4-FFF2-40B4-BE49-F238E27FC236}">
                <a16:creationId xmlns:a16="http://schemas.microsoft.com/office/drawing/2014/main" id="{9748312A-D775-47C5-BDDC-D1823CD747EA}"/>
              </a:ext>
            </a:extLst>
          </p:cNvPr>
          <p:cNvPicPr>
            <a:picLocks noChangeAspect="1"/>
          </p:cNvPicPr>
          <p:nvPr/>
        </p:nvPicPr>
        <p:blipFill>
          <a:blip r:embed="rId3"/>
          <a:stretch>
            <a:fillRect/>
          </a:stretch>
        </p:blipFill>
        <p:spPr>
          <a:xfrm>
            <a:off x="4814627" y="1247528"/>
            <a:ext cx="3933397" cy="1532353"/>
          </a:xfrm>
          <a:prstGeom prst="rect">
            <a:avLst/>
          </a:prstGeom>
        </p:spPr>
      </p:pic>
      <p:sp>
        <p:nvSpPr>
          <p:cNvPr id="10" name="TextBox 9">
            <a:extLst>
              <a:ext uri="{FF2B5EF4-FFF2-40B4-BE49-F238E27FC236}">
                <a16:creationId xmlns:a16="http://schemas.microsoft.com/office/drawing/2014/main" id="{066010B0-4320-4B65-A982-28BF90AD2C28}"/>
              </a:ext>
            </a:extLst>
          </p:cNvPr>
          <p:cNvSpPr txBox="1"/>
          <p:nvPr/>
        </p:nvSpPr>
        <p:spPr>
          <a:xfrm>
            <a:off x="4932040" y="1211873"/>
            <a:ext cx="3744416" cy="230832"/>
          </a:xfrm>
          <a:prstGeom prst="rect">
            <a:avLst/>
          </a:prstGeom>
          <a:solidFill>
            <a:schemeClr val="accent2"/>
          </a:solidFill>
        </p:spPr>
        <p:txBody>
          <a:bodyPr wrap="square" rtlCol="0">
            <a:spAutoFit/>
          </a:bodyPr>
          <a:lstStyle/>
          <a:p>
            <a:pPr marL="0" indent="0">
              <a:buClr>
                <a:schemeClr val="accent2"/>
              </a:buClr>
              <a:buFont typeface="Wingdings" pitchFamily="2" charset="2"/>
              <a:buNone/>
            </a:pPr>
            <a:r>
              <a:rPr lang="en-US" sz="900" b="1">
                <a:solidFill>
                  <a:srgbClr val="FFFFFF"/>
                </a:solidFill>
              </a:rPr>
              <a:t>Carbon footprint (kg CO2-eq per 40 g serving)</a:t>
            </a:r>
          </a:p>
        </p:txBody>
      </p:sp>
      <p:pic>
        <p:nvPicPr>
          <p:cNvPr id="12" name="Picture 11">
            <a:extLst>
              <a:ext uri="{FF2B5EF4-FFF2-40B4-BE49-F238E27FC236}">
                <a16:creationId xmlns:a16="http://schemas.microsoft.com/office/drawing/2014/main" id="{52B40E4E-4A55-48F4-90AB-6F24532860C5}"/>
              </a:ext>
            </a:extLst>
          </p:cNvPr>
          <p:cNvPicPr>
            <a:picLocks noChangeAspect="1"/>
          </p:cNvPicPr>
          <p:nvPr/>
        </p:nvPicPr>
        <p:blipFill>
          <a:blip r:embed="rId4"/>
          <a:stretch>
            <a:fillRect/>
          </a:stretch>
        </p:blipFill>
        <p:spPr>
          <a:xfrm>
            <a:off x="4930196" y="2959168"/>
            <a:ext cx="3602244" cy="2014158"/>
          </a:xfrm>
          <a:prstGeom prst="rect">
            <a:avLst/>
          </a:prstGeom>
        </p:spPr>
      </p:pic>
      <p:sp>
        <p:nvSpPr>
          <p:cNvPr id="14" name="TextBox 13">
            <a:extLst>
              <a:ext uri="{FF2B5EF4-FFF2-40B4-BE49-F238E27FC236}">
                <a16:creationId xmlns:a16="http://schemas.microsoft.com/office/drawing/2014/main" id="{74654770-3AE5-48EE-AB10-7FBF4B49D83B}"/>
              </a:ext>
            </a:extLst>
          </p:cNvPr>
          <p:cNvSpPr txBox="1"/>
          <p:nvPr/>
        </p:nvSpPr>
        <p:spPr>
          <a:xfrm>
            <a:off x="4930196" y="2859782"/>
            <a:ext cx="3746260" cy="230832"/>
          </a:xfrm>
          <a:prstGeom prst="rect">
            <a:avLst/>
          </a:prstGeom>
          <a:solidFill>
            <a:schemeClr val="accent2"/>
          </a:solidFill>
        </p:spPr>
        <p:txBody>
          <a:bodyPr wrap="square" rtlCol="0">
            <a:spAutoFit/>
          </a:bodyPr>
          <a:lstStyle>
            <a:defPPr>
              <a:defRPr lang="nb-NO"/>
            </a:defPPr>
            <a:lvl1pPr indent="0">
              <a:buClr>
                <a:schemeClr val="accent2"/>
              </a:buClr>
              <a:buFont typeface="Wingdings" pitchFamily="2" charset="2"/>
              <a:buNone/>
              <a:defRPr sz="900" b="1">
                <a:solidFill>
                  <a:srgbClr val="FFFFFF"/>
                </a:solidFill>
              </a:defRPr>
            </a:lvl1pPr>
          </a:lstStyle>
          <a:p>
            <a:r>
              <a:rPr lang="en-US" dirty="0"/>
              <a:t>Land needed to produce 100 grams of edible protein</a:t>
            </a:r>
          </a:p>
        </p:txBody>
      </p:sp>
      <p:sp>
        <p:nvSpPr>
          <p:cNvPr id="11" name="Text Placeholder 4">
            <a:extLst>
              <a:ext uri="{FF2B5EF4-FFF2-40B4-BE49-F238E27FC236}">
                <a16:creationId xmlns:a16="http://schemas.microsoft.com/office/drawing/2014/main" id="{B9A0E502-D21A-4BF4-9D4E-AA061B3C92D8}"/>
              </a:ext>
            </a:extLst>
          </p:cNvPr>
          <p:cNvSpPr>
            <a:spLocks noGrp="1"/>
          </p:cNvSpPr>
          <p:nvPr>
            <p:ph type="body" sz="quarter" idx="14"/>
          </p:nvPr>
        </p:nvSpPr>
        <p:spPr>
          <a:xfrm>
            <a:off x="467544" y="4950209"/>
            <a:ext cx="6172552" cy="144073"/>
          </a:xfrm>
          <a:noFill/>
        </p:spPr>
        <p:txBody>
          <a:bodyPr vert="horz" wrap="square" lIns="91440" tIns="36000" rIns="91440" bIns="0" rtlCol="0" anchor="t" anchorCtr="0">
            <a:spAutoFit/>
          </a:bodyPr>
          <a:lstStyle/>
          <a:p>
            <a:pPr>
              <a:buFont typeface="Wingdings" pitchFamily="2" charset="2"/>
            </a:pPr>
            <a:r>
              <a:rPr lang="en-US" sz="700" i="1"/>
              <a:t>Source: GSI</a:t>
            </a:r>
          </a:p>
        </p:txBody>
      </p:sp>
      <p:pic>
        <p:nvPicPr>
          <p:cNvPr id="5" name="Picture 4">
            <a:extLst>
              <a:ext uri="{FF2B5EF4-FFF2-40B4-BE49-F238E27FC236}">
                <a16:creationId xmlns:a16="http://schemas.microsoft.com/office/drawing/2014/main" id="{D01DA73D-E2C6-6762-209F-7B2B605C3B3D}"/>
              </a:ext>
            </a:extLst>
          </p:cNvPr>
          <p:cNvPicPr>
            <a:picLocks noChangeAspect="1"/>
          </p:cNvPicPr>
          <p:nvPr/>
        </p:nvPicPr>
        <p:blipFill>
          <a:blip r:embed="rId5"/>
          <a:stretch>
            <a:fillRect/>
          </a:stretch>
        </p:blipFill>
        <p:spPr>
          <a:xfrm>
            <a:off x="133005" y="1261068"/>
            <a:ext cx="4228569" cy="2395268"/>
          </a:xfrm>
          <a:prstGeom prst="rect">
            <a:avLst/>
          </a:prstGeom>
        </p:spPr>
      </p:pic>
    </p:spTree>
    <p:extLst>
      <p:ext uri="{BB962C8B-B14F-4D97-AF65-F5344CB8AC3E}">
        <p14:creationId xmlns:p14="http://schemas.microsoft.com/office/powerpoint/2010/main" val="3212920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27190FDC-C2B5-A069-7154-550C2312ED4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264" y="-536426"/>
            <a:ext cx="9324528" cy="62163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5F0B17B-BCEE-7F59-DFFB-1A0843C5B09F}"/>
              </a:ext>
            </a:extLst>
          </p:cNvPr>
          <p:cNvSpPr>
            <a:spLocks noGrp="1"/>
          </p:cNvSpPr>
          <p:nvPr>
            <p:ph type="title"/>
          </p:nvPr>
        </p:nvSpPr>
        <p:spPr/>
        <p:txBody>
          <a:bodyPr/>
          <a:lstStyle/>
          <a:p>
            <a:r>
              <a:rPr lang="en-US" sz="4000" dirty="0">
                <a:highlight>
                  <a:srgbClr val="FFFF00"/>
                </a:highlight>
              </a:rPr>
              <a:t>DNSH! </a:t>
            </a:r>
          </a:p>
        </p:txBody>
      </p:sp>
      <p:sp>
        <p:nvSpPr>
          <p:cNvPr id="3" name="Slide Number Placeholder 2">
            <a:extLst>
              <a:ext uri="{FF2B5EF4-FFF2-40B4-BE49-F238E27FC236}">
                <a16:creationId xmlns:a16="http://schemas.microsoft.com/office/drawing/2014/main" id="{7740112C-8458-BB16-C237-194ADCFAF7C0}"/>
              </a:ext>
            </a:extLst>
          </p:cNvPr>
          <p:cNvSpPr>
            <a:spLocks noGrp="1"/>
          </p:cNvSpPr>
          <p:nvPr>
            <p:ph type="sldNum" sz="quarter" idx="16"/>
          </p:nvPr>
        </p:nvSpPr>
        <p:spPr/>
        <p:txBody>
          <a:bodyPr/>
          <a:lstStyle/>
          <a:p>
            <a:fld id="{DE050E36-BA33-43C0-AE7D-FD2A806B7DFE}" type="slidenum">
              <a:rPr lang="en-US" smtClean="0"/>
              <a:pPr/>
              <a:t>11</a:t>
            </a:fld>
            <a:endParaRPr lang="en-US" dirty="0"/>
          </a:p>
        </p:txBody>
      </p:sp>
      <p:sp>
        <p:nvSpPr>
          <p:cNvPr id="4" name="Text Placeholder 3">
            <a:extLst>
              <a:ext uri="{FF2B5EF4-FFF2-40B4-BE49-F238E27FC236}">
                <a16:creationId xmlns:a16="http://schemas.microsoft.com/office/drawing/2014/main" id="{0455ACF7-DD39-BCE4-9470-F40C31760B72}"/>
              </a:ext>
            </a:extLst>
          </p:cNvPr>
          <p:cNvSpPr>
            <a:spLocks noGrp="1"/>
          </p:cNvSpPr>
          <p:nvPr>
            <p:ph type="body" sz="quarter" idx="12"/>
          </p:nvPr>
        </p:nvSpPr>
        <p:spPr/>
        <p:txBody>
          <a:bodyPr>
            <a:normAutofit fontScale="70000" lnSpcReduction="20000"/>
          </a:bodyPr>
          <a:lstStyle/>
          <a:p>
            <a:endParaRPr lang="en-US" dirty="0"/>
          </a:p>
        </p:txBody>
      </p:sp>
      <p:sp>
        <p:nvSpPr>
          <p:cNvPr id="5" name="TextBox 4">
            <a:extLst>
              <a:ext uri="{FF2B5EF4-FFF2-40B4-BE49-F238E27FC236}">
                <a16:creationId xmlns:a16="http://schemas.microsoft.com/office/drawing/2014/main" id="{F1CB01EA-396E-99C5-FD52-6EDE587E25D2}"/>
              </a:ext>
            </a:extLst>
          </p:cNvPr>
          <p:cNvSpPr txBox="1"/>
          <p:nvPr/>
        </p:nvSpPr>
        <p:spPr>
          <a:xfrm>
            <a:off x="971600" y="4803998"/>
            <a:ext cx="5399955" cy="215444"/>
          </a:xfrm>
          <a:prstGeom prst="rect">
            <a:avLst/>
          </a:prstGeom>
          <a:noFill/>
        </p:spPr>
        <p:txBody>
          <a:bodyPr wrap="square" rtlCol="0">
            <a:spAutoFit/>
          </a:bodyPr>
          <a:lstStyle/>
          <a:p>
            <a:pPr marL="0" indent="0">
              <a:buClr>
                <a:schemeClr val="accent2"/>
              </a:buClr>
              <a:buFont typeface="Wingdings" pitchFamily="2" charset="2"/>
              <a:buNone/>
            </a:pPr>
            <a:r>
              <a:rPr lang="en-US" sz="800" i="1" dirty="0">
                <a:solidFill>
                  <a:srgbClr val="FFFF00"/>
                </a:solidFill>
              </a:rPr>
              <a:t>DNSH = Do No Significant Harm</a:t>
            </a:r>
          </a:p>
        </p:txBody>
      </p:sp>
    </p:spTree>
    <p:extLst>
      <p:ext uri="{BB962C8B-B14F-4D97-AF65-F5344CB8AC3E}">
        <p14:creationId xmlns:p14="http://schemas.microsoft.com/office/powerpoint/2010/main" val="1126505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873123" y="-20538"/>
            <a:ext cx="7875590" cy="702152"/>
          </a:xfrm>
        </p:spPr>
        <p:txBody>
          <a:bodyPr/>
          <a:lstStyle/>
          <a:p>
            <a:r>
              <a:rPr lang="en-US" dirty="0"/>
              <a:t>Traditional sustainability focus: local</a:t>
            </a:r>
          </a:p>
        </p:txBody>
      </p:sp>
      <p:sp>
        <p:nvSpPr>
          <p:cNvPr id="6" name="Text Placeholder 3"/>
          <p:cNvSpPr>
            <a:spLocks noGrp="1"/>
          </p:cNvSpPr>
          <p:nvPr>
            <p:ph type="body" sz="quarter" idx="12"/>
          </p:nvPr>
        </p:nvSpPr>
        <p:spPr>
          <a:xfrm>
            <a:off x="4788464" y="87475"/>
            <a:ext cx="3960000" cy="132197"/>
          </a:xfrm>
        </p:spPr>
        <p:txBody>
          <a:bodyPr>
            <a:normAutofit fontScale="70000" lnSpcReduction="20000"/>
          </a:bodyPr>
          <a:lstStyle/>
          <a:p>
            <a:endParaRPr lang="en-US" dirty="0"/>
          </a:p>
        </p:txBody>
      </p:sp>
      <p:sp>
        <p:nvSpPr>
          <p:cNvPr id="7" name="Text Placeholder 4"/>
          <p:cNvSpPr>
            <a:spLocks noGrp="1"/>
          </p:cNvSpPr>
          <p:nvPr>
            <p:ph type="body" sz="quarter" idx="14"/>
          </p:nvPr>
        </p:nvSpPr>
        <p:spPr>
          <a:xfrm>
            <a:off x="107504" y="4955929"/>
            <a:ext cx="6172552" cy="144073"/>
          </a:xfrm>
          <a:noFill/>
        </p:spPr>
        <p:txBody>
          <a:bodyPr vert="horz" wrap="square" lIns="91440" tIns="36000" rIns="91440" bIns="0" rtlCol="0" anchor="t" anchorCtr="0">
            <a:spAutoFit/>
          </a:bodyPr>
          <a:lstStyle/>
          <a:p>
            <a:pPr>
              <a:buFont typeface="Wingdings" pitchFamily="2" charset="2"/>
            </a:pPr>
            <a:r>
              <a:rPr lang="en-US" sz="700" i="1" dirty="0"/>
              <a:t>Source: </a:t>
            </a:r>
            <a:r>
              <a:rPr lang="en-US" sz="700" i="1" dirty="0" err="1"/>
              <a:t>Fiskeridirektoratet</a:t>
            </a:r>
            <a:r>
              <a:rPr lang="en-US" sz="700" i="1" dirty="0"/>
              <a:t> (DNB translation from Norwegian)</a:t>
            </a:r>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699542"/>
            <a:ext cx="6408712" cy="39688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16"/>
          </p:nvPr>
        </p:nvSpPr>
        <p:spPr/>
        <p:txBody>
          <a:bodyPr/>
          <a:lstStyle/>
          <a:p>
            <a:fld id="{DE050E36-BA33-43C0-AE7D-FD2A806B7DFE}" type="slidenum">
              <a:rPr lang="en-GB" smtClean="0"/>
              <a:pPr/>
              <a:t>12</a:t>
            </a:fld>
            <a:endParaRPr lang="en-GB"/>
          </a:p>
        </p:txBody>
      </p:sp>
      <p:sp>
        <p:nvSpPr>
          <p:cNvPr id="3" name="TextBox 2">
            <a:extLst>
              <a:ext uri="{FF2B5EF4-FFF2-40B4-BE49-F238E27FC236}">
                <a16:creationId xmlns:a16="http://schemas.microsoft.com/office/drawing/2014/main" id="{5221A78A-337C-BFAA-AC5D-B00FB0F85B67}"/>
              </a:ext>
            </a:extLst>
          </p:cNvPr>
          <p:cNvSpPr txBox="1"/>
          <p:nvPr/>
        </p:nvSpPr>
        <p:spPr>
          <a:xfrm>
            <a:off x="7740352" y="555526"/>
            <a:ext cx="1105272" cy="3970318"/>
          </a:xfrm>
          <a:prstGeom prst="rect">
            <a:avLst/>
          </a:prstGeom>
          <a:noFill/>
        </p:spPr>
        <p:txBody>
          <a:bodyPr wrap="square" rtlCol="0">
            <a:spAutoFit/>
          </a:bodyPr>
          <a:lstStyle/>
          <a:p>
            <a:pPr algn="ctr">
              <a:buClr>
                <a:schemeClr val="accent2"/>
              </a:buClr>
            </a:pPr>
            <a:r>
              <a:rPr lang="en-US" sz="1200" i="1" dirty="0">
                <a:highlight>
                  <a:srgbClr val="FFFF00"/>
                </a:highlight>
              </a:rPr>
              <a:t>Salmon’s DNSH danger zone</a:t>
            </a:r>
          </a:p>
          <a:p>
            <a:pPr marL="0" indent="0" algn="ctr">
              <a:buClr>
                <a:schemeClr val="accent2"/>
              </a:buClr>
              <a:buFont typeface="Wingdings" pitchFamily="2" charset="2"/>
              <a:buNone/>
            </a:pPr>
            <a:endParaRPr lang="en-US" sz="800" i="1" dirty="0">
              <a:highlight>
                <a:srgbClr val="FFFF00"/>
              </a:highlight>
            </a:endParaRPr>
          </a:p>
          <a:p>
            <a:pPr marL="0" indent="0" algn="ctr">
              <a:buClr>
                <a:schemeClr val="accent2"/>
              </a:buClr>
              <a:buFont typeface="Wingdings" pitchFamily="2" charset="2"/>
              <a:buNone/>
            </a:pPr>
            <a:r>
              <a:rPr lang="en-US" sz="1200" i="1" dirty="0">
                <a:highlight>
                  <a:srgbClr val="FFFF00"/>
                </a:highlight>
              </a:rPr>
              <a:t>=</a:t>
            </a:r>
          </a:p>
          <a:p>
            <a:pPr marL="0" indent="0" algn="ctr">
              <a:buClr>
                <a:schemeClr val="accent2"/>
              </a:buClr>
              <a:buFont typeface="Wingdings" pitchFamily="2" charset="2"/>
              <a:buNone/>
            </a:pPr>
            <a:endParaRPr lang="en-US" sz="800" i="1" dirty="0">
              <a:highlight>
                <a:srgbClr val="FFFF00"/>
              </a:highlight>
            </a:endParaRPr>
          </a:p>
          <a:p>
            <a:pPr marL="0" indent="0" algn="ctr">
              <a:buClr>
                <a:schemeClr val="accent2"/>
              </a:buClr>
              <a:buFont typeface="Wingdings" pitchFamily="2" charset="2"/>
              <a:buNone/>
            </a:pPr>
            <a:r>
              <a:rPr lang="en-US" sz="1200" i="1" dirty="0">
                <a:highlight>
                  <a:srgbClr val="FFFF00"/>
                </a:highlight>
              </a:rPr>
              <a:t>Local footprint </a:t>
            </a:r>
          </a:p>
          <a:p>
            <a:pPr marL="0" indent="0" algn="ctr">
              <a:buClr>
                <a:schemeClr val="accent2"/>
              </a:buClr>
              <a:buFont typeface="Wingdings" pitchFamily="2" charset="2"/>
              <a:buNone/>
            </a:pPr>
            <a:endParaRPr lang="en-US" sz="800" i="1" dirty="0">
              <a:highlight>
                <a:srgbClr val="FFFF00"/>
              </a:highlight>
            </a:endParaRPr>
          </a:p>
          <a:p>
            <a:pPr marL="0" indent="0" algn="ctr">
              <a:buClr>
                <a:schemeClr val="accent2"/>
              </a:buClr>
              <a:buFont typeface="Wingdings" pitchFamily="2" charset="2"/>
              <a:buNone/>
            </a:pPr>
            <a:r>
              <a:rPr lang="en-US" sz="1200" i="1" dirty="0">
                <a:highlight>
                  <a:srgbClr val="FFFF00"/>
                </a:highlight>
              </a:rPr>
              <a:t>+ </a:t>
            </a:r>
          </a:p>
          <a:p>
            <a:pPr marL="0" indent="0" algn="ctr">
              <a:buClr>
                <a:schemeClr val="accent2"/>
              </a:buClr>
              <a:buFont typeface="Wingdings" pitchFamily="2" charset="2"/>
              <a:buNone/>
            </a:pPr>
            <a:endParaRPr lang="en-US" sz="800" i="1" dirty="0">
              <a:highlight>
                <a:srgbClr val="FFFF00"/>
              </a:highlight>
            </a:endParaRPr>
          </a:p>
          <a:p>
            <a:pPr marL="0" indent="0" algn="ctr">
              <a:buClr>
                <a:schemeClr val="accent2"/>
              </a:buClr>
              <a:buFont typeface="Wingdings" pitchFamily="2" charset="2"/>
              <a:buNone/>
            </a:pPr>
            <a:r>
              <a:rPr lang="en-US" sz="1200" i="1" dirty="0">
                <a:highlight>
                  <a:srgbClr val="FFFF00"/>
                </a:highlight>
              </a:rPr>
              <a:t>Impact on indigenous people </a:t>
            </a:r>
          </a:p>
          <a:p>
            <a:pPr marL="0" indent="0" algn="ctr">
              <a:buClr>
                <a:schemeClr val="accent2"/>
              </a:buClr>
              <a:buFont typeface="Wingdings" pitchFamily="2" charset="2"/>
              <a:buNone/>
            </a:pPr>
            <a:endParaRPr lang="en-US" sz="800" i="1" dirty="0">
              <a:highlight>
                <a:srgbClr val="FFFF00"/>
              </a:highlight>
            </a:endParaRPr>
          </a:p>
          <a:p>
            <a:pPr marL="0" indent="0" algn="ctr">
              <a:buClr>
                <a:schemeClr val="accent2"/>
              </a:buClr>
              <a:buFont typeface="Wingdings" pitchFamily="2" charset="2"/>
              <a:buNone/>
            </a:pPr>
            <a:r>
              <a:rPr lang="en-US" sz="1200" i="1" dirty="0">
                <a:highlight>
                  <a:srgbClr val="FFFF00"/>
                </a:highlight>
              </a:rPr>
              <a:t>+</a:t>
            </a:r>
          </a:p>
          <a:p>
            <a:pPr marL="0" indent="0" algn="ctr">
              <a:buClr>
                <a:schemeClr val="accent2"/>
              </a:buClr>
              <a:buFont typeface="Wingdings" pitchFamily="2" charset="2"/>
              <a:buNone/>
            </a:pPr>
            <a:r>
              <a:rPr lang="en-US" sz="1200" i="1" dirty="0">
                <a:highlight>
                  <a:srgbClr val="FFFF00"/>
                </a:highlight>
              </a:rPr>
              <a:t> </a:t>
            </a:r>
          </a:p>
          <a:p>
            <a:pPr marL="0" indent="0" algn="ctr">
              <a:buClr>
                <a:schemeClr val="accent2"/>
              </a:buClr>
              <a:buFont typeface="Wingdings" pitchFamily="2" charset="2"/>
              <a:buNone/>
            </a:pPr>
            <a:r>
              <a:rPr lang="en-US" sz="1200" i="1" dirty="0">
                <a:highlight>
                  <a:srgbClr val="FFFF00"/>
                </a:highlight>
              </a:rPr>
              <a:t>Antibiotics</a:t>
            </a:r>
          </a:p>
          <a:p>
            <a:pPr marL="0" indent="0" algn="ctr">
              <a:buClr>
                <a:schemeClr val="accent2"/>
              </a:buClr>
              <a:buFont typeface="Wingdings" pitchFamily="2" charset="2"/>
              <a:buNone/>
            </a:pPr>
            <a:endParaRPr lang="en-US" sz="800" i="1" dirty="0">
              <a:highlight>
                <a:srgbClr val="FFFF00"/>
              </a:highlight>
            </a:endParaRPr>
          </a:p>
          <a:p>
            <a:pPr marL="0" indent="0" algn="ctr">
              <a:buClr>
                <a:schemeClr val="accent2"/>
              </a:buClr>
              <a:buFont typeface="Wingdings" pitchFamily="2" charset="2"/>
              <a:buNone/>
            </a:pPr>
            <a:r>
              <a:rPr lang="en-US" sz="1200" i="1" dirty="0">
                <a:highlight>
                  <a:srgbClr val="FFFF00"/>
                </a:highlight>
              </a:rPr>
              <a:t>+</a:t>
            </a:r>
          </a:p>
          <a:p>
            <a:pPr marL="0" indent="0" algn="ctr">
              <a:buClr>
                <a:schemeClr val="accent2"/>
              </a:buClr>
              <a:buFont typeface="Wingdings" pitchFamily="2" charset="2"/>
              <a:buNone/>
            </a:pPr>
            <a:r>
              <a:rPr lang="en-US" sz="1200" i="1" dirty="0">
                <a:highlight>
                  <a:srgbClr val="FFFF00"/>
                </a:highlight>
              </a:rPr>
              <a:t> </a:t>
            </a:r>
          </a:p>
          <a:p>
            <a:pPr marL="0" indent="0" algn="ctr">
              <a:buClr>
                <a:schemeClr val="accent2"/>
              </a:buClr>
              <a:buFont typeface="Wingdings" pitchFamily="2" charset="2"/>
              <a:buNone/>
            </a:pPr>
            <a:r>
              <a:rPr lang="en-US" sz="1200" i="1" dirty="0">
                <a:highlight>
                  <a:srgbClr val="FFFF00"/>
                </a:highlight>
              </a:rPr>
              <a:t>Fish welfare </a:t>
            </a:r>
          </a:p>
          <a:p>
            <a:pPr marL="0" indent="0" algn="ctr">
              <a:buClr>
                <a:schemeClr val="accent2"/>
              </a:buClr>
              <a:buFont typeface="Wingdings" pitchFamily="2" charset="2"/>
              <a:buNone/>
            </a:pPr>
            <a:endParaRPr lang="en-US" sz="1200" i="1" dirty="0">
              <a:highlight>
                <a:srgbClr val="FFFF00"/>
              </a:highlight>
            </a:endParaRPr>
          </a:p>
        </p:txBody>
      </p:sp>
    </p:spTree>
    <p:extLst>
      <p:ext uri="{BB962C8B-B14F-4D97-AF65-F5344CB8AC3E}">
        <p14:creationId xmlns:p14="http://schemas.microsoft.com/office/powerpoint/2010/main" val="3351670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99B7F-E844-3A6E-49CE-24FA33ACB19C}"/>
              </a:ext>
            </a:extLst>
          </p:cNvPr>
          <p:cNvSpPr>
            <a:spLocks noGrp="1"/>
          </p:cNvSpPr>
          <p:nvPr>
            <p:ph type="title"/>
          </p:nvPr>
        </p:nvSpPr>
        <p:spPr/>
        <p:txBody>
          <a:bodyPr/>
          <a:lstStyle/>
          <a:p>
            <a:r>
              <a:rPr lang="en-US"/>
              <a:t>What society expects from companies</a:t>
            </a:r>
          </a:p>
        </p:txBody>
      </p:sp>
      <p:sp>
        <p:nvSpPr>
          <p:cNvPr id="3" name="Slide Number Placeholder 2">
            <a:extLst>
              <a:ext uri="{FF2B5EF4-FFF2-40B4-BE49-F238E27FC236}">
                <a16:creationId xmlns:a16="http://schemas.microsoft.com/office/drawing/2014/main" id="{37B28F58-8251-73C1-70BC-5D5EAEB5EC21}"/>
              </a:ext>
            </a:extLst>
          </p:cNvPr>
          <p:cNvSpPr>
            <a:spLocks noGrp="1"/>
          </p:cNvSpPr>
          <p:nvPr>
            <p:ph type="sldNum" sz="quarter" idx="16"/>
          </p:nvPr>
        </p:nvSpPr>
        <p:spPr/>
        <p:txBody>
          <a:bodyPr/>
          <a:lstStyle/>
          <a:p>
            <a:fld id="{DE050E36-BA33-43C0-AE7D-FD2A806B7DFE}" type="slidenum">
              <a:rPr lang="en-US" smtClean="0"/>
              <a:pPr/>
              <a:t>13</a:t>
            </a:fld>
            <a:endParaRPr lang="en-US"/>
          </a:p>
        </p:txBody>
      </p:sp>
      <p:sp>
        <p:nvSpPr>
          <p:cNvPr id="4" name="Text Placeholder 3">
            <a:extLst>
              <a:ext uri="{FF2B5EF4-FFF2-40B4-BE49-F238E27FC236}">
                <a16:creationId xmlns:a16="http://schemas.microsoft.com/office/drawing/2014/main" id="{84AE7654-4468-0375-DBCB-7CA2E61114FD}"/>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E9313AB5-CE94-F549-0C6C-5B635B554AF8}"/>
              </a:ext>
            </a:extLst>
          </p:cNvPr>
          <p:cNvSpPr>
            <a:spLocks noGrp="1"/>
          </p:cNvSpPr>
          <p:nvPr>
            <p:ph type="body" sz="quarter" idx="14"/>
          </p:nvPr>
        </p:nvSpPr>
        <p:spPr/>
        <p:txBody>
          <a:bodyPr/>
          <a:lstStyle/>
          <a:p>
            <a:endParaRPr lang="en-US"/>
          </a:p>
        </p:txBody>
      </p:sp>
      <p:sp>
        <p:nvSpPr>
          <p:cNvPr id="6" name="Content Placeholder 5">
            <a:extLst>
              <a:ext uri="{FF2B5EF4-FFF2-40B4-BE49-F238E27FC236}">
                <a16:creationId xmlns:a16="http://schemas.microsoft.com/office/drawing/2014/main" id="{1212372F-799E-78A1-BEA1-CF19A2A91F9C}"/>
              </a:ext>
            </a:extLst>
          </p:cNvPr>
          <p:cNvSpPr>
            <a:spLocks noGrp="1"/>
          </p:cNvSpPr>
          <p:nvPr>
            <p:ph sz="quarter" idx="17"/>
          </p:nvPr>
        </p:nvSpPr>
        <p:spPr/>
        <p:txBody>
          <a:bodyPr/>
          <a:lstStyle/>
          <a:p>
            <a:r>
              <a:rPr lang="en-US" dirty="0"/>
              <a:t>Save the world </a:t>
            </a:r>
          </a:p>
          <a:p>
            <a:endParaRPr lang="en-US" sz="1000" dirty="0"/>
          </a:p>
          <a:p>
            <a:r>
              <a:rPr lang="en-US" dirty="0"/>
              <a:t>Stop to exist</a:t>
            </a:r>
          </a:p>
          <a:p>
            <a:endParaRPr lang="en-US" sz="1000" dirty="0"/>
          </a:p>
          <a:p>
            <a:r>
              <a:rPr lang="en-US" dirty="0"/>
              <a:t>Continue to do what they do – only better</a:t>
            </a:r>
          </a:p>
        </p:txBody>
      </p:sp>
    </p:spTree>
    <p:extLst>
      <p:ext uri="{BB962C8B-B14F-4D97-AF65-F5344CB8AC3E}">
        <p14:creationId xmlns:p14="http://schemas.microsoft.com/office/powerpoint/2010/main" val="2293313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64679-BB10-CBD1-7985-4AA5272D2404}"/>
              </a:ext>
            </a:extLst>
          </p:cNvPr>
          <p:cNvSpPr>
            <a:spLocks noGrp="1"/>
          </p:cNvSpPr>
          <p:nvPr>
            <p:ph type="title"/>
          </p:nvPr>
        </p:nvSpPr>
        <p:spPr/>
        <p:txBody>
          <a:bodyPr/>
          <a:lstStyle/>
          <a:p>
            <a:r>
              <a:rPr lang="en-US"/>
              <a:t>Agenda</a:t>
            </a:r>
          </a:p>
        </p:txBody>
      </p:sp>
      <p:sp>
        <p:nvSpPr>
          <p:cNvPr id="3" name="Slide Number Placeholder 2">
            <a:extLst>
              <a:ext uri="{FF2B5EF4-FFF2-40B4-BE49-F238E27FC236}">
                <a16:creationId xmlns:a16="http://schemas.microsoft.com/office/drawing/2014/main" id="{05DDAFB6-C0B6-A2F4-BB42-66EDF332A21D}"/>
              </a:ext>
            </a:extLst>
          </p:cNvPr>
          <p:cNvSpPr>
            <a:spLocks noGrp="1"/>
          </p:cNvSpPr>
          <p:nvPr>
            <p:ph type="sldNum" sz="quarter" idx="16"/>
          </p:nvPr>
        </p:nvSpPr>
        <p:spPr/>
        <p:txBody>
          <a:bodyPr/>
          <a:lstStyle/>
          <a:p>
            <a:fld id="{DE050E36-BA33-43C0-AE7D-FD2A806B7DFE}" type="slidenum">
              <a:rPr lang="en-US" smtClean="0"/>
              <a:pPr/>
              <a:t>14</a:t>
            </a:fld>
            <a:endParaRPr lang="en-US"/>
          </a:p>
        </p:txBody>
      </p:sp>
      <p:sp>
        <p:nvSpPr>
          <p:cNvPr id="4" name="Text Placeholder 3">
            <a:extLst>
              <a:ext uri="{FF2B5EF4-FFF2-40B4-BE49-F238E27FC236}">
                <a16:creationId xmlns:a16="http://schemas.microsoft.com/office/drawing/2014/main" id="{D24B6117-3D30-1075-9B59-30FBDCB9DF8E}"/>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1EA0B48B-0E16-690D-BC65-0F2AA008CF0B}"/>
              </a:ext>
            </a:extLst>
          </p:cNvPr>
          <p:cNvSpPr>
            <a:spLocks noGrp="1"/>
          </p:cNvSpPr>
          <p:nvPr>
            <p:ph type="body" sz="quarter" idx="14"/>
          </p:nvPr>
        </p:nvSpPr>
        <p:spPr/>
        <p:txBody>
          <a:bodyPr/>
          <a:lstStyle/>
          <a:p>
            <a:endParaRPr lang="en-US"/>
          </a:p>
        </p:txBody>
      </p:sp>
      <p:sp>
        <p:nvSpPr>
          <p:cNvPr id="6" name="Content Placeholder 5">
            <a:extLst>
              <a:ext uri="{FF2B5EF4-FFF2-40B4-BE49-F238E27FC236}">
                <a16:creationId xmlns:a16="http://schemas.microsoft.com/office/drawing/2014/main" id="{0E851A19-5544-50A9-98D8-0F95D300AB5A}"/>
              </a:ext>
            </a:extLst>
          </p:cNvPr>
          <p:cNvSpPr>
            <a:spLocks noGrp="1"/>
          </p:cNvSpPr>
          <p:nvPr>
            <p:ph sz="quarter" idx="17"/>
          </p:nvPr>
        </p:nvSpPr>
        <p:spPr/>
        <p:txBody>
          <a:bodyPr/>
          <a:lstStyle/>
          <a:p>
            <a:r>
              <a:rPr lang="en-US" dirty="0">
                <a:solidFill>
                  <a:schemeClr val="bg1"/>
                </a:solidFill>
              </a:rPr>
              <a:t>Sustainability issues in salmon</a:t>
            </a:r>
          </a:p>
          <a:p>
            <a:r>
              <a:rPr lang="en-US" dirty="0">
                <a:solidFill>
                  <a:srgbClr val="FF0000"/>
                </a:solidFill>
              </a:rPr>
              <a:t>Green and sustainability linked financing</a:t>
            </a:r>
          </a:p>
          <a:p>
            <a:endParaRPr lang="en-US" dirty="0"/>
          </a:p>
          <a:p>
            <a:endParaRPr lang="en-US" dirty="0"/>
          </a:p>
        </p:txBody>
      </p:sp>
    </p:spTree>
    <p:extLst>
      <p:ext uri="{BB962C8B-B14F-4D97-AF65-F5344CB8AC3E}">
        <p14:creationId xmlns:p14="http://schemas.microsoft.com/office/powerpoint/2010/main" val="35244957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FCCD0-2F31-0977-3DA7-7B6C0C04EFD1}"/>
              </a:ext>
            </a:extLst>
          </p:cNvPr>
          <p:cNvSpPr>
            <a:spLocks noGrp="1"/>
          </p:cNvSpPr>
          <p:nvPr>
            <p:ph type="title"/>
          </p:nvPr>
        </p:nvSpPr>
        <p:spPr/>
        <p:txBody>
          <a:bodyPr/>
          <a:lstStyle/>
          <a:p>
            <a:r>
              <a:rPr lang="en-US"/>
              <a:t>Why do banks care about ESG?</a:t>
            </a:r>
          </a:p>
        </p:txBody>
      </p:sp>
      <p:sp>
        <p:nvSpPr>
          <p:cNvPr id="3" name="Slide Number Placeholder 2">
            <a:extLst>
              <a:ext uri="{FF2B5EF4-FFF2-40B4-BE49-F238E27FC236}">
                <a16:creationId xmlns:a16="http://schemas.microsoft.com/office/drawing/2014/main" id="{B8D4E4F9-DA71-E85E-17D2-D49F5C947CAC}"/>
              </a:ext>
            </a:extLst>
          </p:cNvPr>
          <p:cNvSpPr>
            <a:spLocks noGrp="1"/>
          </p:cNvSpPr>
          <p:nvPr>
            <p:ph type="sldNum" sz="quarter" idx="16"/>
          </p:nvPr>
        </p:nvSpPr>
        <p:spPr/>
        <p:txBody>
          <a:bodyPr/>
          <a:lstStyle/>
          <a:p>
            <a:fld id="{DE050E36-BA33-43C0-AE7D-FD2A806B7DFE}" type="slidenum">
              <a:rPr lang="en-US" smtClean="0"/>
              <a:pPr/>
              <a:t>15</a:t>
            </a:fld>
            <a:endParaRPr lang="en-US"/>
          </a:p>
        </p:txBody>
      </p:sp>
      <p:sp>
        <p:nvSpPr>
          <p:cNvPr id="4" name="Text Placeholder 3">
            <a:extLst>
              <a:ext uri="{FF2B5EF4-FFF2-40B4-BE49-F238E27FC236}">
                <a16:creationId xmlns:a16="http://schemas.microsoft.com/office/drawing/2014/main" id="{DFAD736E-634E-424E-F860-C170D46AF6D5}"/>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BE2CE1C2-8417-E415-FA06-A0D5A33495FA}"/>
              </a:ext>
            </a:extLst>
          </p:cNvPr>
          <p:cNvSpPr>
            <a:spLocks noGrp="1"/>
          </p:cNvSpPr>
          <p:nvPr>
            <p:ph type="body" sz="quarter" idx="14"/>
          </p:nvPr>
        </p:nvSpPr>
        <p:spPr/>
        <p:txBody>
          <a:bodyPr/>
          <a:lstStyle/>
          <a:p>
            <a:endParaRPr lang="en-US"/>
          </a:p>
        </p:txBody>
      </p:sp>
      <p:sp>
        <p:nvSpPr>
          <p:cNvPr id="6" name="Content Placeholder 5">
            <a:extLst>
              <a:ext uri="{FF2B5EF4-FFF2-40B4-BE49-F238E27FC236}">
                <a16:creationId xmlns:a16="http://schemas.microsoft.com/office/drawing/2014/main" id="{0DBDA041-D4A1-45F1-E77F-CA97F861BB48}"/>
              </a:ext>
            </a:extLst>
          </p:cNvPr>
          <p:cNvSpPr>
            <a:spLocks noGrp="1"/>
          </p:cNvSpPr>
          <p:nvPr>
            <p:ph sz="quarter" idx="17"/>
          </p:nvPr>
        </p:nvSpPr>
        <p:spPr/>
        <p:txBody>
          <a:bodyPr/>
          <a:lstStyle/>
          <a:p>
            <a:r>
              <a:rPr lang="en-US" dirty="0"/>
              <a:t>They have no choice: a tool for government policy</a:t>
            </a:r>
          </a:p>
          <a:p>
            <a:endParaRPr lang="en-US" sz="1000" dirty="0"/>
          </a:p>
          <a:p>
            <a:r>
              <a:rPr lang="en-US" dirty="0"/>
              <a:t>ESG risk is financial risk</a:t>
            </a:r>
          </a:p>
          <a:p>
            <a:endParaRPr lang="en-US" sz="1000" dirty="0"/>
          </a:p>
          <a:p>
            <a:r>
              <a:rPr lang="en-US" dirty="0"/>
              <a:t>Own reputation and risk profile</a:t>
            </a:r>
          </a:p>
          <a:p>
            <a:endParaRPr lang="en-US" dirty="0"/>
          </a:p>
        </p:txBody>
      </p:sp>
    </p:spTree>
    <p:extLst>
      <p:ext uri="{BB962C8B-B14F-4D97-AF65-F5344CB8AC3E}">
        <p14:creationId xmlns:p14="http://schemas.microsoft.com/office/powerpoint/2010/main" val="12225709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4C7901-8EC7-0720-EA47-CEB485E4C833}"/>
              </a:ext>
            </a:extLst>
          </p:cNvPr>
          <p:cNvSpPr>
            <a:spLocks noGrp="1"/>
          </p:cNvSpPr>
          <p:nvPr>
            <p:ph type="title"/>
          </p:nvPr>
        </p:nvSpPr>
        <p:spPr>
          <a:xfrm>
            <a:off x="827584" y="-20581"/>
            <a:ext cx="7875590" cy="702152"/>
          </a:xfrm>
        </p:spPr>
        <p:txBody>
          <a:bodyPr>
            <a:normAutofit/>
          </a:bodyPr>
          <a:lstStyle/>
          <a:p>
            <a:r>
              <a:rPr lang="en-US" dirty="0">
                <a:cs typeface="Calibri Light"/>
              </a:rPr>
              <a:t>Green &amp; sustainability linked financing</a:t>
            </a:r>
          </a:p>
        </p:txBody>
      </p:sp>
      <p:sp>
        <p:nvSpPr>
          <p:cNvPr id="5" name="Text Placeholder 4">
            <a:extLst>
              <a:ext uri="{FF2B5EF4-FFF2-40B4-BE49-F238E27FC236}">
                <a16:creationId xmlns:a16="http://schemas.microsoft.com/office/drawing/2014/main" id="{3721821F-4F7C-D7E1-5028-B56990939066}"/>
              </a:ext>
            </a:extLst>
          </p:cNvPr>
          <p:cNvSpPr>
            <a:spLocks noGrp="1"/>
          </p:cNvSpPr>
          <p:nvPr>
            <p:ph type="body" sz="quarter" idx="12"/>
          </p:nvPr>
        </p:nvSpPr>
        <p:spPr/>
        <p:txBody>
          <a:bodyPr>
            <a:normAutofit fontScale="70000" lnSpcReduction="20000"/>
          </a:bodyPr>
          <a:lstStyle/>
          <a:p>
            <a:endParaRPr lang="en-US" dirty="0"/>
          </a:p>
        </p:txBody>
      </p:sp>
      <p:sp>
        <p:nvSpPr>
          <p:cNvPr id="7" name="Content Placeholder 6">
            <a:extLst>
              <a:ext uri="{FF2B5EF4-FFF2-40B4-BE49-F238E27FC236}">
                <a16:creationId xmlns:a16="http://schemas.microsoft.com/office/drawing/2014/main" id="{34070A62-6323-2EC1-BA51-299C408982FF}"/>
              </a:ext>
            </a:extLst>
          </p:cNvPr>
          <p:cNvSpPr>
            <a:spLocks noGrp="1"/>
          </p:cNvSpPr>
          <p:nvPr>
            <p:ph sz="quarter" idx="17"/>
          </p:nvPr>
        </p:nvSpPr>
        <p:spPr>
          <a:xfrm>
            <a:off x="866301" y="1006077"/>
            <a:ext cx="7875589" cy="4049947"/>
          </a:xfrm>
        </p:spPr>
        <p:txBody>
          <a:bodyPr>
            <a:normAutofit/>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4" name="Picture 3">
            <a:extLst>
              <a:ext uri="{FF2B5EF4-FFF2-40B4-BE49-F238E27FC236}">
                <a16:creationId xmlns:a16="http://schemas.microsoft.com/office/drawing/2014/main" id="{6D571264-0203-33F7-C98D-272875D4CD9E}"/>
              </a:ext>
            </a:extLst>
          </p:cNvPr>
          <p:cNvPicPr>
            <a:picLocks noChangeAspect="1"/>
          </p:cNvPicPr>
          <p:nvPr/>
        </p:nvPicPr>
        <p:blipFill>
          <a:blip r:embed="rId3"/>
          <a:stretch>
            <a:fillRect/>
          </a:stretch>
        </p:blipFill>
        <p:spPr>
          <a:xfrm>
            <a:off x="4992110" y="1467976"/>
            <a:ext cx="1776354" cy="2519735"/>
          </a:xfrm>
          <a:prstGeom prst="rect">
            <a:avLst/>
          </a:prstGeom>
        </p:spPr>
      </p:pic>
      <p:sp>
        <p:nvSpPr>
          <p:cNvPr id="8" name="TextBox 7">
            <a:extLst>
              <a:ext uri="{FF2B5EF4-FFF2-40B4-BE49-F238E27FC236}">
                <a16:creationId xmlns:a16="http://schemas.microsoft.com/office/drawing/2014/main" id="{A84F32F3-81CB-0E0A-D80F-DBC382F7A5C3}"/>
              </a:ext>
            </a:extLst>
          </p:cNvPr>
          <p:cNvSpPr txBox="1"/>
          <p:nvPr/>
        </p:nvSpPr>
        <p:spPr>
          <a:xfrm>
            <a:off x="866301" y="4845809"/>
            <a:ext cx="914400" cy="246221"/>
          </a:xfrm>
          <a:prstGeom prst="rect">
            <a:avLst/>
          </a:prstGeom>
          <a:solidFill>
            <a:srgbClr val="FFFFFF"/>
          </a:solidFill>
        </p:spPr>
        <p:txBody>
          <a:bodyPr wrap="square" rtlCol="0">
            <a:spAutoFit/>
          </a:bodyPr>
          <a:lstStyle/>
          <a:p>
            <a:pPr marL="0" indent="0">
              <a:buClr>
                <a:schemeClr val="accent2"/>
              </a:buClr>
              <a:buFont typeface="Wingdings" pitchFamily="2" charset="2"/>
              <a:buNone/>
            </a:pPr>
            <a:endParaRPr lang="en-US" sz="1000" dirty="0">
              <a:highlight>
                <a:srgbClr val="FFFFFF"/>
              </a:highlight>
            </a:endParaRPr>
          </a:p>
        </p:txBody>
      </p:sp>
      <p:sp>
        <p:nvSpPr>
          <p:cNvPr id="3" name="TextBox 2">
            <a:extLst>
              <a:ext uri="{FF2B5EF4-FFF2-40B4-BE49-F238E27FC236}">
                <a16:creationId xmlns:a16="http://schemas.microsoft.com/office/drawing/2014/main" id="{B77DC167-61A3-ADB2-99FD-745D62879EC5}"/>
              </a:ext>
            </a:extLst>
          </p:cNvPr>
          <p:cNvSpPr txBox="1"/>
          <p:nvPr/>
        </p:nvSpPr>
        <p:spPr>
          <a:xfrm>
            <a:off x="6908399" y="1771946"/>
            <a:ext cx="1872208" cy="1077218"/>
          </a:xfrm>
          <a:prstGeom prst="rect">
            <a:avLst/>
          </a:prstGeom>
          <a:noFill/>
        </p:spPr>
        <p:txBody>
          <a:bodyPr wrap="square" rtlCol="0">
            <a:spAutoFit/>
          </a:bodyPr>
          <a:lstStyle/>
          <a:p>
            <a:pPr marL="0" indent="0">
              <a:buClr>
                <a:schemeClr val="accent2"/>
              </a:buClr>
              <a:buFont typeface="Wingdings" pitchFamily="2" charset="2"/>
              <a:buNone/>
            </a:pPr>
            <a:r>
              <a:rPr lang="en-US" sz="800" b="1" u="sng" dirty="0">
                <a:highlight>
                  <a:srgbClr val="FFFF00"/>
                </a:highlight>
              </a:rPr>
              <a:t>Green bond or loan:</a:t>
            </a:r>
          </a:p>
          <a:p>
            <a:pPr marL="0" indent="0">
              <a:buClr>
                <a:schemeClr val="accent2"/>
              </a:buClr>
              <a:buFont typeface="Wingdings" pitchFamily="2" charset="2"/>
              <a:buNone/>
            </a:pPr>
            <a:r>
              <a:rPr lang="en-US" sz="800" dirty="0">
                <a:highlight>
                  <a:srgbClr val="FFFF00"/>
                </a:highlight>
              </a:rPr>
              <a:t>The money goes to a specific project which is classified as green</a:t>
            </a:r>
          </a:p>
          <a:p>
            <a:pPr marL="0" indent="0">
              <a:buClr>
                <a:schemeClr val="accent2"/>
              </a:buClr>
              <a:buFont typeface="Wingdings" pitchFamily="2" charset="2"/>
              <a:buNone/>
            </a:pPr>
            <a:endParaRPr lang="en-US" sz="800" dirty="0">
              <a:highlight>
                <a:srgbClr val="FFFF00"/>
              </a:highlight>
            </a:endParaRPr>
          </a:p>
          <a:p>
            <a:pPr marL="0" indent="0">
              <a:buClr>
                <a:schemeClr val="accent2"/>
              </a:buClr>
              <a:buFont typeface="Wingdings" pitchFamily="2" charset="2"/>
              <a:buNone/>
            </a:pPr>
            <a:r>
              <a:rPr lang="en-US" sz="800" b="1" u="sng" dirty="0">
                <a:highlight>
                  <a:srgbClr val="FFFF00"/>
                </a:highlight>
              </a:rPr>
              <a:t>Sustainability linked bond or loan:</a:t>
            </a:r>
          </a:p>
          <a:p>
            <a:pPr marL="0" indent="0">
              <a:buClr>
                <a:schemeClr val="accent2"/>
              </a:buClr>
              <a:buFont typeface="Wingdings" pitchFamily="2" charset="2"/>
              <a:buNone/>
            </a:pPr>
            <a:r>
              <a:rPr lang="en-US" sz="800" dirty="0">
                <a:highlight>
                  <a:srgbClr val="FFFF00"/>
                </a:highlight>
              </a:rPr>
              <a:t>The money goes to general corporate purposes, margin linked to performance vs KPIs</a:t>
            </a:r>
          </a:p>
        </p:txBody>
      </p:sp>
      <p:sp>
        <p:nvSpPr>
          <p:cNvPr id="9" name="TextBox 8">
            <a:extLst>
              <a:ext uri="{FF2B5EF4-FFF2-40B4-BE49-F238E27FC236}">
                <a16:creationId xmlns:a16="http://schemas.microsoft.com/office/drawing/2014/main" id="{D07FD1C4-7C91-E44D-C9E4-5C8BA3A5FA7A}"/>
              </a:ext>
            </a:extLst>
          </p:cNvPr>
          <p:cNvSpPr txBox="1"/>
          <p:nvPr/>
        </p:nvSpPr>
        <p:spPr>
          <a:xfrm>
            <a:off x="979526" y="555526"/>
            <a:ext cx="2584362" cy="246221"/>
          </a:xfrm>
          <a:prstGeom prst="rect">
            <a:avLst/>
          </a:prstGeom>
          <a:noFill/>
        </p:spPr>
        <p:txBody>
          <a:bodyPr wrap="none" rtlCol="0">
            <a:spAutoFit/>
          </a:bodyPr>
          <a:lstStyle/>
          <a:p>
            <a:pPr marL="0" indent="0">
              <a:buClr>
                <a:schemeClr val="accent2"/>
              </a:buClr>
              <a:buFont typeface="Wingdings" pitchFamily="2" charset="2"/>
              <a:buNone/>
            </a:pPr>
            <a:r>
              <a:rPr lang="en-US" sz="1000" b="1" i="1" dirty="0"/>
              <a:t>Transactions DNB has been involved in</a:t>
            </a:r>
          </a:p>
        </p:txBody>
      </p:sp>
      <p:pic>
        <p:nvPicPr>
          <p:cNvPr id="11" name="Picture 10">
            <a:extLst>
              <a:ext uri="{FF2B5EF4-FFF2-40B4-BE49-F238E27FC236}">
                <a16:creationId xmlns:a16="http://schemas.microsoft.com/office/drawing/2014/main" id="{FE2A0094-301A-F2BD-8670-60F51CAB7194}"/>
              </a:ext>
            </a:extLst>
          </p:cNvPr>
          <p:cNvPicPr>
            <a:picLocks noChangeAspect="1"/>
          </p:cNvPicPr>
          <p:nvPr/>
        </p:nvPicPr>
        <p:blipFill>
          <a:blip r:embed="rId4"/>
          <a:stretch>
            <a:fillRect/>
          </a:stretch>
        </p:blipFill>
        <p:spPr>
          <a:xfrm>
            <a:off x="1062692" y="761552"/>
            <a:ext cx="3089199" cy="4316487"/>
          </a:xfrm>
          <a:prstGeom prst="rect">
            <a:avLst/>
          </a:prstGeom>
        </p:spPr>
      </p:pic>
    </p:spTree>
    <p:extLst>
      <p:ext uri="{BB962C8B-B14F-4D97-AF65-F5344CB8AC3E}">
        <p14:creationId xmlns:p14="http://schemas.microsoft.com/office/powerpoint/2010/main" val="42692584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2C9146A-EF94-71F5-F49F-5AC828FD3D15}"/>
              </a:ext>
            </a:extLst>
          </p:cNvPr>
          <p:cNvSpPr>
            <a:spLocks noGrp="1"/>
          </p:cNvSpPr>
          <p:nvPr>
            <p:ph type="sldNum" sz="quarter" idx="16"/>
          </p:nvPr>
        </p:nvSpPr>
        <p:spPr/>
        <p:txBody>
          <a:bodyPr/>
          <a:lstStyle/>
          <a:p>
            <a:fld id="{DE050E36-BA33-43C0-AE7D-FD2A806B7DFE}" type="slidenum">
              <a:rPr lang="en-GB" smtClean="0"/>
              <a:pPr/>
              <a:t>17</a:t>
            </a:fld>
            <a:endParaRPr lang="en-GB"/>
          </a:p>
        </p:txBody>
      </p:sp>
      <p:sp>
        <p:nvSpPr>
          <p:cNvPr id="4" name="Text Placeholder 3">
            <a:extLst>
              <a:ext uri="{FF2B5EF4-FFF2-40B4-BE49-F238E27FC236}">
                <a16:creationId xmlns:a16="http://schemas.microsoft.com/office/drawing/2014/main" id="{39BEAD9B-E981-3C86-1DC7-D66BE7E6F0EA}"/>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DF22B384-6B87-4785-B107-C1B9E4C3B35C}"/>
              </a:ext>
            </a:extLst>
          </p:cNvPr>
          <p:cNvSpPr>
            <a:spLocks noGrp="1"/>
          </p:cNvSpPr>
          <p:nvPr>
            <p:ph type="body" sz="quarter" idx="14"/>
          </p:nvPr>
        </p:nvSpPr>
        <p:spPr/>
        <p:txBody>
          <a:bodyPr/>
          <a:lstStyle/>
          <a:p>
            <a:endParaRPr lang="en-US"/>
          </a:p>
        </p:txBody>
      </p:sp>
      <p:pic>
        <p:nvPicPr>
          <p:cNvPr id="2050" name="Picture 2" descr="Al Jazeera English on Twitter: &quot;&quot;30 years of blah, blah, blah and where has  that led us?&quot; Greta Thunberg called out world leaders for promising much  but doing little to tackle global">
            <a:extLst>
              <a:ext uri="{FF2B5EF4-FFF2-40B4-BE49-F238E27FC236}">
                <a16:creationId xmlns:a16="http://schemas.microsoft.com/office/drawing/2014/main" id="{98EF4402-CF95-FA76-C194-AC8C5C11EA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7704" y="112751"/>
            <a:ext cx="4896544" cy="48965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05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D3EDA-AEAF-71D9-971E-F8D4F7FF8D59}"/>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AAE253AE-3C6C-26E5-F554-C44E36335B35}"/>
              </a:ext>
            </a:extLst>
          </p:cNvPr>
          <p:cNvSpPr>
            <a:spLocks noGrp="1"/>
          </p:cNvSpPr>
          <p:nvPr>
            <p:ph type="sldNum" sz="quarter" idx="16"/>
          </p:nvPr>
        </p:nvSpPr>
        <p:spPr/>
        <p:txBody>
          <a:bodyPr/>
          <a:lstStyle/>
          <a:p>
            <a:fld id="{DE050E36-BA33-43C0-AE7D-FD2A806B7DFE}" type="slidenum">
              <a:rPr lang="en-GB" smtClean="0"/>
              <a:pPr/>
              <a:t>18</a:t>
            </a:fld>
            <a:endParaRPr lang="en-GB"/>
          </a:p>
        </p:txBody>
      </p:sp>
      <p:sp>
        <p:nvSpPr>
          <p:cNvPr id="4" name="Text Placeholder 3">
            <a:extLst>
              <a:ext uri="{FF2B5EF4-FFF2-40B4-BE49-F238E27FC236}">
                <a16:creationId xmlns:a16="http://schemas.microsoft.com/office/drawing/2014/main" id="{2FD7FB96-B427-3D47-8773-02455238FCA7}"/>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D2958116-AF0C-65D7-AF5B-DF3E0EC34E86}"/>
              </a:ext>
            </a:extLst>
          </p:cNvPr>
          <p:cNvSpPr>
            <a:spLocks noGrp="1"/>
          </p:cNvSpPr>
          <p:nvPr>
            <p:ph type="body" sz="quarter" idx="14"/>
          </p:nvPr>
        </p:nvSpPr>
        <p:spPr/>
        <p:txBody>
          <a:bodyPr/>
          <a:lstStyle/>
          <a:p>
            <a:endParaRPr lang="en-US"/>
          </a:p>
        </p:txBody>
      </p:sp>
      <p:sp>
        <p:nvSpPr>
          <p:cNvPr id="6" name="Content Placeholder 5">
            <a:extLst>
              <a:ext uri="{FF2B5EF4-FFF2-40B4-BE49-F238E27FC236}">
                <a16:creationId xmlns:a16="http://schemas.microsoft.com/office/drawing/2014/main" id="{6771B6C4-70CE-5E7D-456A-FDB5C30DD402}"/>
              </a:ext>
            </a:extLst>
          </p:cNvPr>
          <p:cNvSpPr>
            <a:spLocks noGrp="1"/>
          </p:cNvSpPr>
          <p:nvPr>
            <p:ph sz="quarter" idx="17"/>
          </p:nvPr>
        </p:nvSpPr>
        <p:spPr/>
        <p:txBody>
          <a:bodyPr/>
          <a:lstStyle/>
          <a:p>
            <a:endParaRPr lang="en-US"/>
          </a:p>
        </p:txBody>
      </p:sp>
      <p:sp>
        <p:nvSpPr>
          <p:cNvPr id="7" name="Slide Number Placeholder 2">
            <a:extLst>
              <a:ext uri="{FF2B5EF4-FFF2-40B4-BE49-F238E27FC236}">
                <a16:creationId xmlns:a16="http://schemas.microsoft.com/office/drawing/2014/main" id="{E2FAC0AA-081C-11AD-2612-84FFD6768C50}"/>
              </a:ext>
            </a:extLst>
          </p:cNvPr>
          <p:cNvSpPr txBox="1">
            <a:spLocks/>
          </p:cNvSpPr>
          <p:nvPr/>
        </p:nvSpPr>
        <p:spPr>
          <a:xfrm>
            <a:off x="4193958" y="4803998"/>
            <a:ext cx="792088" cy="253770"/>
          </a:xfrm>
          <a:prstGeom prst="rect">
            <a:avLst/>
          </a:prstGeom>
        </p:spPr>
        <p:txBody>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50E36-BA33-43C0-AE7D-FD2A806B7DFE}" type="slidenum">
              <a:rPr lang="en-GB" smtClean="0"/>
              <a:pPr/>
              <a:t>18</a:t>
            </a:fld>
            <a:endParaRPr lang="en-GB"/>
          </a:p>
        </p:txBody>
      </p:sp>
      <p:pic>
        <p:nvPicPr>
          <p:cNvPr id="8" name="Picture 7">
            <a:extLst>
              <a:ext uri="{FF2B5EF4-FFF2-40B4-BE49-F238E27FC236}">
                <a16:creationId xmlns:a16="http://schemas.microsoft.com/office/drawing/2014/main" id="{F12A8D96-7F1B-FE23-CCB7-B91A1A89DC6B}"/>
              </a:ext>
            </a:extLst>
          </p:cNvPr>
          <p:cNvPicPr>
            <a:picLocks noChangeAspect="1"/>
          </p:cNvPicPr>
          <p:nvPr/>
        </p:nvPicPr>
        <p:blipFill>
          <a:blip r:embed="rId3"/>
          <a:stretch>
            <a:fillRect/>
          </a:stretch>
        </p:blipFill>
        <p:spPr>
          <a:xfrm>
            <a:off x="323528" y="59109"/>
            <a:ext cx="4536943" cy="4912567"/>
          </a:xfrm>
          <a:prstGeom prst="rect">
            <a:avLst/>
          </a:prstGeom>
        </p:spPr>
      </p:pic>
      <p:sp>
        <p:nvSpPr>
          <p:cNvPr id="9" name="TextBox 8">
            <a:extLst>
              <a:ext uri="{FF2B5EF4-FFF2-40B4-BE49-F238E27FC236}">
                <a16:creationId xmlns:a16="http://schemas.microsoft.com/office/drawing/2014/main" id="{4CA82DD4-D444-08DD-3DA0-A880BF9C5127}"/>
              </a:ext>
            </a:extLst>
          </p:cNvPr>
          <p:cNvSpPr txBox="1"/>
          <p:nvPr/>
        </p:nvSpPr>
        <p:spPr>
          <a:xfrm>
            <a:off x="5556744" y="409645"/>
            <a:ext cx="2841477" cy="492443"/>
          </a:xfrm>
          <a:prstGeom prst="rect">
            <a:avLst/>
          </a:prstGeom>
          <a:noFill/>
        </p:spPr>
        <p:txBody>
          <a:bodyPr wrap="square">
            <a:spAutoFit/>
          </a:bodyPr>
          <a:lstStyle/>
          <a:p>
            <a:endParaRPr lang="en-US" sz="1300" dirty="0">
              <a:solidFill>
                <a:srgbClr val="050505"/>
              </a:solidFill>
              <a:latin typeface="Segoe UI Historic" panose="020B0502040204020203" pitchFamily="34" charset="0"/>
            </a:endParaRPr>
          </a:p>
          <a:p>
            <a:endParaRPr lang="en-US" sz="1300" b="0" i="0" dirty="0">
              <a:solidFill>
                <a:srgbClr val="050505"/>
              </a:solidFill>
              <a:effectLst/>
              <a:latin typeface="Segoe UI Historic" panose="020B0502040204020203" pitchFamily="34" charset="0"/>
            </a:endParaRPr>
          </a:p>
        </p:txBody>
      </p:sp>
      <p:sp>
        <p:nvSpPr>
          <p:cNvPr id="10" name="TextBox 9">
            <a:extLst>
              <a:ext uri="{FF2B5EF4-FFF2-40B4-BE49-F238E27FC236}">
                <a16:creationId xmlns:a16="http://schemas.microsoft.com/office/drawing/2014/main" id="{1DA6BDC2-DBD5-2C85-2757-6EBBBC4CDF52}"/>
              </a:ext>
            </a:extLst>
          </p:cNvPr>
          <p:cNvSpPr txBox="1"/>
          <p:nvPr/>
        </p:nvSpPr>
        <p:spPr>
          <a:xfrm>
            <a:off x="5134493" y="409645"/>
            <a:ext cx="3685977" cy="4185761"/>
          </a:xfrm>
          <a:prstGeom prst="rect">
            <a:avLst/>
          </a:prstGeom>
          <a:noFill/>
        </p:spPr>
        <p:txBody>
          <a:bodyPr wrap="square">
            <a:spAutoFit/>
          </a:bodyPr>
          <a:lstStyle/>
          <a:p>
            <a:r>
              <a:rPr lang="en-US" sz="1400" b="0" i="1" dirty="0">
                <a:solidFill>
                  <a:srgbClr val="FFFF00"/>
                </a:solidFill>
                <a:effectLst/>
                <a:latin typeface="Segoe UI Historic" panose="020B0502040204020203" pitchFamily="34" charset="0"/>
              </a:rPr>
              <a:t> We see this voluntary sector-wide commitment as a benchmark to inspire other global animal protein sectors. </a:t>
            </a:r>
          </a:p>
          <a:p>
            <a:r>
              <a:rPr lang="en-US" sz="1400" b="0" i="0" dirty="0">
                <a:solidFill>
                  <a:srgbClr val="FFFFFF"/>
                </a:solidFill>
                <a:effectLst/>
                <a:latin typeface="Segoe UI Historic" panose="020B0502040204020203" pitchFamily="34" charset="0"/>
              </a:rPr>
              <a:t>-</a:t>
            </a:r>
            <a:r>
              <a:rPr lang="en-US" sz="1400" dirty="0">
                <a:solidFill>
                  <a:srgbClr val="FFFFFF"/>
                </a:solidFill>
                <a:latin typeface="Segoe UI Historic" panose="020B0502040204020203" pitchFamily="34" charset="0"/>
              </a:rPr>
              <a:t>WWF Brazil</a:t>
            </a:r>
            <a:endParaRPr lang="en-US" sz="1400" b="0" i="0" dirty="0">
              <a:solidFill>
                <a:srgbClr val="FFFFFF"/>
              </a:solidFill>
              <a:effectLst/>
              <a:latin typeface="Segoe UI Historic" panose="020B0502040204020203" pitchFamily="34" charset="0"/>
            </a:endParaRPr>
          </a:p>
          <a:p>
            <a:endParaRPr lang="en-US" sz="1400" b="0" i="1" dirty="0">
              <a:solidFill>
                <a:srgbClr val="FFFF00"/>
              </a:solidFill>
              <a:effectLst/>
              <a:latin typeface="Segoe UI Historic" panose="020B0502040204020203" pitchFamily="34" charset="0"/>
            </a:endParaRPr>
          </a:p>
          <a:p>
            <a:r>
              <a:rPr lang="en-US" sz="1400" b="0" i="1" dirty="0">
                <a:solidFill>
                  <a:srgbClr val="FFFF00"/>
                </a:solidFill>
                <a:effectLst/>
                <a:latin typeface="Segoe UI Historic" panose="020B0502040204020203" pitchFamily="34" charset="0"/>
              </a:rPr>
              <a:t>The Brazilian soy suppliers and the Norwegian salmon industry show true leadership and set the new bar for sustainable supply chains. This historic commitment by their Brazilian soy suppliers will be a game changer for the sustainability standard for global supply chains. Global pork, poultry and beef producers are lagging behind, by still allowing deforestation in their supply chain. To stop being complicit in deforestation, the meat industry must follow suit and require their suppliers to become fully deforestation-free.</a:t>
            </a:r>
          </a:p>
          <a:p>
            <a:r>
              <a:rPr lang="en-US" sz="1400" b="0" i="0" dirty="0">
                <a:solidFill>
                  <a:srgbClr val="FFFFFF"/>
                </a:solidFill>
                <a:effectLst/>
                <a:latin typeface="Segoe UI Historic" panose="020B0502040204020203" pitchFamily="34" charset="0"/>
              </a:rPr>
              <a:t>-The Norwegian Rainforest Foundation</a:t>
            </a:r>
            <a:endParaRPr lang="en-US" sz="1400" dirty="0">
              <a:solidFill>
                <a:srgbClr val="FFFFFF"/>
              </a:solidFill>
            </a:endParaRPr>
          </a:p>
        </p:txBody>
      </p:sp>
    </p:spTree>
    <p:extLst>
      <p:ext uri="{BB962C8B-B14F-4D97-AF65-F5344CB8AC3E}">
        <p14:creationId xmlns:p14="http://schemas.microsoft.com/office/powerpoint/2010/main" val="28909725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B48392-846D-4953-B590-FB6AA49A07FA}"/>
              </a:ext>
            </a:extLst>
          </p:cNvPr>
          <p:cNvSpPr>
            <a:spLocks noGrp="1"/>
          </p:cNvSpPr>
          <p:nvPr>
            <p:ph type="title"/>
          </p:nvPr>
        </p:nvSpPr>
        <p:spPr/>
        <p:txBody>
          <a:bodyPr/>
          <a:lstStyle/>
          <a:p>
            <a:r>
              <a:rPr lang="en-US" sz="1800" i="1" dirty="0"/>
              <a:t>Strong climate gas commitments</a:t>
            </a:r>
            <a:br>
              <a:rPr lang="en-US" sz="1800" i="1" dirty="0"/>
            </a:br>
            <a:r>
              <a:rPr lang="en-US" i="1" dirty="0"/>
              <a:t>Science Based Targets</a:t>
            </a:r>
          </a:p>
        </p:txBody>
      </p:sp>
      <p:sp>
        <p:nvSpPr>
          <p:cNvPr id="3" name="Slide Number Placeholder 2">
            <a:extLst>
              <a:ext uri="{FF2B5EF4-FFF2-40B4-BE49-F238E27FC236}">
                <a16:creationId xmlns:a16="http://schemas.microsoft.com/office/drawing/2014/main" id="{C6FC4B86-684F-4B9C-BD0C-08A6EF581563}"/>
              </a:ext>
            </a:extLst>
          </p:cNvPr>
          <p:cNvSpPr>
            <a:spLocks noGrp="1"/>
          </p:cNvSpPr>
          <p:nvPr>
            <p:ph type="sldNum" sz="quarter" idx="16"/>
          </p:nvPr>
        </p:nvSpPr>
        <p:spPr/>
        <p:txBody>
          <a:bodyPr/>
          <a:lstStyle/>
          <a:p>
            <a:fld id="{DE050E36-BA33-43C0-AE7D-FD2A806B7DFE}" type="slidenum">
              <a:rPr lang="en-US" smtClean="0"/>
              <a:pPr/>
              <a:t>19</a:t>
            </a:fld>
            <a:endParaRPr lang="en-US" dirty="0"/>
          </a:p>
        </p:txBody>
      </p:sp>
      <p:sp>
        <p:nvSpPr>
          <p:cNvPr id="4" name="Text Placeholder 3">
            <a:extLst>
              <a:ext uri="{FF2B5EF4-FFF2-40B4-BE49-F238E27FC236}">
                <a16:creationId xmlns:a16="http://schemas.microsoft.com/office/drawing/2014/main" id="{7D02B8BA-A654-4B05-94FE-CB33D530BC8E}"/>
              </a:ext>
            </a:extLst>
          </p:cNvPr>
          <p:cNvSpPr>
            <a:spLocks noGrp="1"/>
          </p:cNvSpPr>
          <p:nvPr>
            <p:ph type="body" sz="quarter" idx="12"/>
          </p:nvPr>
        </p:nvSpPr>
        <p:spPr/>
        <p:txBody>
          <a:bodyPr>
            <a:normAutofit fontScale="70000" lnSpcReduction="20000"/>
          </a:bodyPr>
          <a:lstStyle/>
          <a:p>
            <a:endParaRPr lang="en-US" dirty="0"/>
          </a:p>
        </p:txBody>
      </p:sp>
      <p:pic>
        <p:nvPicPr>
          <p:cNvPr id="6146" name="Picture 2" descr="Nutreco">
            <a:extLst>
              <a:ext uri="{FF2B5EF4-FFF2-40B4-BE49-F238E27FC236}">
                <a16:creationId xmlns:a16="http://schemas.microsoft.com/office/drawing/2014/main" id="{2A9819C0-1BFF-4608-A7A9-337D3D08FF0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56956" y="610437"/>
            <a:ext cx="2857500" cy="16002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BioMar Norge - Home | Facebook">
            <a:extLst>
              <a:ext uri="{FF2B5EF4-FFF2-40B4-BE49-F238E27FC236}">
                <a16:creationId xmlns:a16="http://schemas.microsoft.com/office/drawing/2014/main" id="{B5AD6CC3-3204-45AB-8CE2-F75E0D217EC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0387" y="2233165"/>
            <a:ext cx="886569" cy="886569"/>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Sea Work - Fagspesialist">
            <a:extLst>
              <a:ext uri="{FF2B5EF4-FFF2-40B4-BE49-F238E27FC236}">
                <a16:creationId xmlns:a16="http://schemas.microsoft.com/office/drawing/2014/main" id="{AC1BEE5F-6DAB-4D02-8E8B-A4F64D7FB8C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81081" y="2852496"/>
            <a:ext cx="2308848" cy="1214007"/>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Wifi velkomst side for Grieg Seafood | Hesbynett">
            <a:extLst>
              <a:ext uri="{FF2B5EF4-FFF2-40B4-BE49-F238E27FC236}">
                <a16:creationId xmlns:a16="http://schemas.microsoft.com/office/drawing/2014/main" id="{14570A62-51FA-4271-A519-3B1643DD74D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12513" y="1516436"/>
            <a:ext cx="1136220" cy="1298537"/>
          </a:xfrm>
          <a:prstGeom prst="rect">
            <a:avLst/>
          </a:prstGeom>
          <a:noFill/>
          <a:extLst>
            <a:ext uri="{909E8E84-426E-40DD-AFC4-6F175D3DCCD1}">
              <a14:hiddenFill xmlns:a14="http://schemas.microsoft.com/office/drawing/2010/main">
                <a:solidFill>
                  <a:srgbClr val="FFFFFF"/>
                </a:solidFill>
              </a14:hiddenFill>
            </a:ext>
          </a:extLst>
        </p:spPr>
      </p:pic>
      <p:pic>
        <p:nvPicPr>
          <p:cNvPr id="6158" name="Picture 14" descr="Mowi ilagt rekordstor bot for lakserømming i Chile">
            <a:extLst>
              <a:ext uri="{FF2B5EF4-FFF2-40B4-BE49-F238E27FC236}">
                <a16:creationId xmlns:a16="http://schemas.microsoft.com/office/drawing/2014/main" id="{AF6D713B-9453-4174-B7C2-E260D639024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5705" y="1951272"/>
            <a:ext cx="1205947" cy="883747"/>
          </a:xfrm>
          <a:prstGeom prst="rect">
            <a:avLst/>
          </a:prstGeom>
          <a:noFill/>
          <a:extLst>
            <a:ext uri="{909E8E84-426E-40DD-AFC4-6F175D3DCCD1}">
              <a14:hiddenFill xmlns:a14="http://schemas.microsoft.com/office/drawing/2010/main">
                <a:solidFill>
                  <a:srgbClr val="FFFFFF"/>
                </a:solidFill>
              </a14:hiddenFill>
            </a:ext>
          </a:extLst>
        </p:spPr>
      </p:pic>
      <p:pic>
        <p:nvPicPr>
          <p:cNvPr id="6160" name="Picture 16" descr="Kunngjøring: Høring akvakultursøknad, Cermaq. Ørnhaugneset - HAMARØY KOMMUNE">
            <a:extLst>
              <a:ext uri="{FF2B5EF4-FFF2-40B4-BE49-F238E27FC236}">
                <a16:creationId xmlns:a16="http://schemas.microsoft.com/office/drawing/2014/main" id="{007CF2E4-45A2-4BAB-8FB6-CEFF0C90E1A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2323" y="4302326"/>
            <a:ext cx="2984633" cy="757895"/>
          </a:xfrm>
          <a:prstGeom prst="rect">
            <a:avLst/>
          </a:prstGeom>
          <a:noFill/>
          <a:extLst>
            <a:ext uri="{909E8E84-426E-40DD-AFC4-6F175D3DCCD1}">
              <a14:hiddenFill xmlns:a14="http://schemas.microsoft.com/office/drawing/2010/main">
                <a:solidFill>
                  <a:srgbClr val="FFFFFF"/>
                </a:solidFill>
              </a14:hiddenFill>
            </a:ext>
          </a:extLst>
        </p:spPr>
      </p:pic>
      <p:pic>
        <p:nvPicPr>
          <p:cNvPr id="6162" name="Picture 18" descr="Lerøy Seafood Group – Wikipedia">
            <a:extLst>
              <a:ext uri="{FF2B5EF4-FFF2-40B4-BE49-F238E27FC236}">
                <a16:creationId xmlns:a16="http://schemas.microsoft.com/office/drawing/2014/main" id="{AB3878EE-EF1E-4DD6-AF83-018A64FCD84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02425" y="1805249"/>
            <a:ext cx="1732783" cy="8913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C4246B9F-6C23-4506-A053-497D2ED4699B}"/>
              </a:ext>
            </a:extLst>
          </p:cNvPr>
          <p:cNvPicPr>
            <a:picLocks noChangeAspect="1"/>
          </p:cNvPicPr>
          <p:nvPr/>
        </p:nvPicPr>
        <p:blipFill>
          <a:blip r:embed="rId10"/>
          <a:stretch>
            <a:fillRect/>
          </a:stretch>
        </p:blipFill>
        <p:spPr>
          <a:xfrm>
            <a:off x="6136185" y="3170551"/>
            <a:ext cx="2594900" cy="847159"/>
          </a:xfrm>
          <a:prstGeom prst="rect">
            <a:avLst/>
          </a:prstGeom>
        </p:spPr>
      </p:pic>
      <p:pic>
        <p:nvPicPr>
          <p:cNvPr id="9" name="Picture 8">
            <a:extLst>
              <a:ext uri="{FF2B5EF4-FFF2-40B4-BE49-F238E27FC236}">
                <a16:creationId xmlns:a16="http://schemas.microsoft.com/office/drawing/2014/main" id="{77BC69D2-B114-8F3E-952C-E21A8DA0CFB2}"/>
              </a:ext>
            </a:extLst>
          </p:cNvPr>
          <p:cNvPicPr>
            <a:picLocks noChangeAspect="1"/>
          </p:cNvPicPr>
          <p:nvPr/>
        </p:nvPicPr>
        <p:blipFill>
          <a:blip r:embed="rId11"/>
          <a:stretch>
            <a:fillRect/>
          </a:stretch>
        </p:blipFill>
        <p:spPr>
          <a:xfrm>
            <a:off x="641119" y="4017710"/>
            <a:ext cx="1656184" cy="467129"/>
          </a:xfrm>
          <a:prstGeom prst="rect">
            <a:avLst/>
          </a:prstGeom>
        </p:spPr>
      </p:pic>
      <p:pic>
        <p:nvPicPr>
          <p:cNvPr id="1026" name="Picture 2" descr="SALMONES AUSTRAL S.A. Y SUBSIDIARIAS ESTADOS FINANCIEROS INTERMEDIOS  CONSOLIDADOS">
            <a:extLst>
              <a:ext uri="{FF2B5EF4-FFF2-40B4-BE49-F238E27FC236}">
                <a16:creationId xmlns:a16="http://schemas.microsoft.com/office/drawing/2014/main" id="{3BE796C7-AAC3-5F46-381B-DF2C83A611C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55714" y="124818"/>
            <a:ext cx="2401582" cy="882744"/>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4">
            <a:extLst>
              <a:ext uri="{FF2B5EF4-FFF2-40B4-BE49-F238E27FC236}">
                <a16:creationId xmlns:a16="http://schemas.microsoft.com/office/drawing/2014/main" id="{E9F2974F-E124-9EE2-4FB4-A7C57726F7EF}"/>
              </a:ext>
            </a:extLst>
          </p:cNvPr>
          <p:cNvSpPr txBox="1">
            <a:spLocks/>
          </p:cNvSpPr>
          <p:nvPr/>
        </p:nvSpPr>
        <p:spPr>
          <a:xfrm>
            <a:off x="641119" y="4922713"/>
            <a:ext cx="4104456" cy="200055"/>
          </a:xfrm>
          <a:prstGeom prst="rect">
            <a:avLst/>
          </a:prstGeom>
          <a:noFill/>
        </p:spPr>
        <p:txBody>
          <a:bodyPr wrap="square" rtlCol="0">
            <a:spAutoFit/>
          </a:bodyPr>
          <a:lstStyle>
            <a:defPPr>
              <a:defRPr lang="nb-NO"/>
            </a:defPPr>
            <a:lvl1pPr indent="0">
              <a:buClr>
                <a:schemeClr val="accent2"/>
              </a:buClr>
              <a:buFont typeface="Wingdings" pitchFamily="2" charset="2"/>
              <a:buNone/>
              <a:defRPr sz="700" i="1">
                <a:solidFill>
                  <a:schemeClr val="bg1"/>
                </a:solidFill>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ource: Science Based Targets</a:t>
            </a:r>
          </a:p>
        </p:txBody>
      </p:sp>
    </p:spTree>
    <p:extLst>
      <p:ext uri="{BB962C8B-B14F-4D97-AF65-F5344CB8AC3E}">
        <p14:creationId xmlns:p14="http://schemas.microsoft.com/office/powerpoint/2010/main" val="753090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837F6-8F66-45C8-9181-F1B5F0083432}"/>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A452C3DE-0571-49C8-B2DA-1FBFFAD757E9}"/>
              </a:ext>
            </a:extLst>
          </p:cNvPr>
          <p:cNvSpPr>
            <a:spLocks noGrp="1"/>
          </p:cNvSpPr>
          <p:nvPr>
            <p:ph type="sldNum" sz="quarter" idx="16"/>
          </p:nvPr>
        </p:nvSpPr>
        <p:spPr/>
        <p:txBody>
          <a:bodyPr/>
          <a:lstStyle/>
          <a:p>
            <a:fld id="{DE050E36-BA33-43C0-AE7D-FD2A806B7DFE}" type="slidenum">
              <a:rPr lang="nb-NO" smtClean="0"/>
              <a:pPr/>
              <a:t>2</a:t>
            </a:fld>
            <a:endParaRPr lang="nb-NO"/>
          </a:p>
        </p:txBody>
      </p:sp>
      <p:sp>
        <p:nvSpPr>
          <p:cNvPr id="4" name="Text Placeholder 3">
            <a:extLst>
              <a:ext uri="{FF2B5EF4-FFF2-40B4-BE49-F238E27FC236}">
                <a16:creationId xmlns:a16="http://schemas.microsoft.com/office/drawing/2014/main" id="{811F7FDF-4588-487C-9664-F304DEEB1E17}"/>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A156B3D3-5229-4172-96FE-CF5E01BD12A1}"/>
              </a:ext>
            </a:extLst>
          </p:cNvPr>
          <p:cNvSpPr>
            <a:spLocks noGrp="1"/>
          </p:cNvSpPr>
          <p:nvPr>
            <p:ph type="body" sz="quarter" idx="14"/>
          </p:nvPr>
        </p:nvSpPr>
        <p:spPr/>
        <p:txBody>
          <a:bodyPr/>
          <a:lstStyle/>
          <a:p>
            <a:endParaRPr lang="en-US"/>
          </a:p>
        </p:txBody>
      </p:sp>
      <p:sp>
        <p:nvSpPr>
          <p:cNvPr id="6" name="Content Placeholder 5">
            <a:extLst>
              <a:ext uri="{FF2B5EF4-FFF2-40B4-BE49-F238E27FC236}">
                <a16:creationId xmlns:a16="http://schemas.microsoft.com/office/drawing/2014/main" id="{1B217772-D36E-4A6E-8DE1-8126094949B7}"/>
              </a:ext>
            </a:extLst>
          </p:cNvPr>
          <p:cNvSpPr>
            <a:spLocks noGrp="1"/>
          </p:cNvSpPr>
          <p:nvPr>
            <p:ph sz="quarter" idx="17"/>
          </p:nvPr>
        </p:nvSpPr>
        <p:spPr/>
        <p:txBody>
          <a:bodyPr/>
          <a:lstStyle/>
          <a:p>
            <a:endParaRPr lang="en-US"/>
          </a:p>
        </p:txBody>
      </p:sp>
      <p:pic>
        <p:nvPicPr>
          <p:cNvPr id="8" name="Picture 7">
            <a:extLst>
              <a:ext uri="{FF2B5EF4-FFF2-40B4-BE49-F238E27FC236}">
                <a16:creationId xmlns:a16="http://schemas.microsoft.com/office/drawing/2014/main" id="{3C5C8410-6D0F-439A-9819-08273CADB674}"/>
              </a:ext>
            </a:extLst>
          </p:cNvPr>
          <p:cNvPicPr>
            <a:picLocks noChangeAspect="1"/>
          </p:cNvPicPr>
          <p:nvPr/>
        </p:nvPicPr>
        <p:blipFill>
          <a:blip r:embed="rId3"/>
          <a:stretch>
            <a:fillRect/>
          </a:stretch>
        </p:blipFill>
        <p:spPr>
          <a:xfrm>
            <a:off x="-36512" y="-92546"/>
            <a:ext cx="9252520" cy="5239287"/>
          </a:xfrm>
          <a:prstGeom prst="rect">
            <a:avLst/>
          </a:prstGeom>
        </p:spPr>
      </p:pic>
    </p:spTree>
    <p:extLst>
      <p:ext uri="{BB962C8B-B14F-4D97-AF65-F5344CB8AC3E}">
        <p14:creationId xmlns:p14="http://schemas.microsoft.com/office/powerpoint/2010/main" val="20564344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B16C85-AC7F-EBC2-0895-D1BD6B3C9419}"/>
              </a:ext>
            </a:extLst>
          </p:cNvPr>
          <p:cNvSpPr>
            <a:spLocks noGrp="1"/>
          </p:cNvSpPr>
          <p:nvPr>
            <p:ph type="title"/>
          </p:nvPr>
        </p:nvSpPr>
        <p:spPr/>
        <p:txBody>
          <a:bodyPr/>
          <a:lstStyle/>
          <a:p>
            <a:r>
              <a:rPr lang="en-US" dirty="0"/>
              <a:t>KPIs in salmon farming STL financing</a:t>
            </a:r>
            <a:br>
              <a:rPr lang="en-US" dirty="0"/>
            </a:br>
            <a:r>
              <a:rPr lang="en-US" sz="1800" i="1" dirty="0"/>
              <a:t>Common to use 3-5 KPIs in a STL loan</a:t>
            </a:r>
          </a:p>
        </p:txBody>
      </p:sp>
      <p:sp>
        <p:nvSpPr>
          <p:cNvPr id="3" name="Slide Number Placeholder 2">
            <a:extLst>
              <a:ext uri="{FF2B5EF4-FFF2-40B4-BE49-F238E27FC236}">
                <a16:creationId xmlns:a16="http://schemas.microsoft.com/office/drawing/2014/main" id="{BA6728A4-0BF6-5BAC-5878-8CD9C7B413AB}"/>
              </a:ext>
            </a:extLst>
          </p:cNvPr>
          <p:cNvSpPr>
            <a:spLocks noGrp="1"/>
          </p:cNvSpPr>
          <p:nvPr>
            <p:ph type="sldNum" sz="quarter" idx="16"/>
          </p:nvPr>
        </p:nvSpPr>
        <p:spPr/>
        <p:txBody>
          <a:bodyPr/>
          <a:lstStyle/>
          <a:p>
            <a:fld id="{DE050E36-BA33-43C0-AE7D-FD2A806B7DFE}" type="slidenum">
              <a:rPr lang="en-US" smtClean="0"/>
              <a:pPr/>
              <a:t>20</a:t>
            </a:fld>
            <a:endParaRPr lang="en-US"/>
          </a:p>
        </p:txBody>
      </p:sp>
      <p:sp>
        <p:nvSpPr>
          <p:cNvPr id="4" name="Text Placeholder 3">
            <a:extLst>
              <a:ext uri="{FF2B5EF4-FFF2-40B4-BE49-F238E27FC236}">
                <a16:creationId xmlns:a16="http://schemas.microsoft.com/office/drawing/2014/main" id="{81C7BF9B-5ADD-DCE8-831F-0890073BEB32}"/>
              </a:ext>
            </a:extLst>
          </p:cNvPr>
          <p:cNvSpPr>
            <a:spLocks noGrp="1"/>
          </p:cNvSpPr>
          <p:nvPr>
            <p:ph type="body" sz="quarter" idx="12"/>
          </p:nvPr>
        </p:nvSpPr>
        <p:spPr/>
        <p:txBody>
          <a:bodyPr>
            <a:normAutofit fontScale="70000" lnSpcReduction="20000"/>
          </a:bodyPr>
          <a:lstStyle/>
          <a:p>
            <a:endParaRPr lang="en-US"/>
          </a:p>
        </p:txBody>
      </p:sp>
      <p:sp>
        <p:nvSpPr>
          <p:cNvPr id="6" name="Content Placeholder 5">
            <a:extLst>
              <a:ext uri="{FF2B5EF4-FFF2-40B4-BE49-F238E27FC236}">
                <a16:creationId xmlns:a16="http://schemas.microsoft.com/office/drawing/2014/main" id="{CE5CE56E-241F-1B87-22A1-CB5DF5B337C8}"/>
              </a:ext>
            </a:extLst>
          </p:cNvPr>
          <p:cNvSpPr>
            <a:spLocks noGrp="1"/>
          </p:cNvSpPr>
          <p:nvPr>
            <p:ph sz="quarter" idx="17"/>
          </p:nvPr>
        </p:nvSpPr>
        <p:spPr/>
        <p:txBody>
          <a:bodyPr/>
          <a:lstStyle/>
          <a:p>
            <a:endParaRPr lang="en-US"/>
          </a:p>
        </p:txBody>
      </p:sp>
      <p:pic>
        <p:nvPicPr>
          <p:cNvPr id="8" name="Picture 7">
            <a:extLst>
              <a:ext uri="{FF2B5EF4-FFF2-40B4-BE49-F238E27FC236}">
                <a16:creationId xmlns:a16="http://schemas.microsoft.com/office/drawing/2014/main" id="{756913A3-18DB-DAA8-9F93-6C7B76080901}"/>
              </a:ext>
            </a:extLst>
          </p:cNvPr>
          <p:cNvPicPr>
            <a:picLocks noChangeAspect="1"/>
          </p:cNvPicPr>
          <p:nvPr/>
        </p:nvPicPr>
        <p:blipFill>
          <a:blip r:embed="rId3"/>
          <a:stretch>
            <a:fillRect/>
          </a:stretch>
        </p:blipFill>
        <p:spPr>
          <a:xfrm>
            <a:off x="722851" y="922939"/>
            <a:ext cx="8000259" cy="3971403"/>
          </a:xfrm>
          <a:prstGeom prst="rect">
            <a:avLst/>
          </a:prstGeom>
        </p:spPr>
      </p:pic>
      <p:sp>
        <p:nvSpPr>
          <p:cNvPr id="7" name="Text Placeholder 4">
            <a:extLst>
              <a:ext uri="{FF2B5EF4-FFF2-40B4-BE49-F238E27FC236}">
                <a16:creationId xmlns:a16="http://schemas.microsoft.com/office/drawing/2014/main" id="{E19C58C4-F6B6-F6AC-26A1-1000B2DBA2E3}"/>
              </a:ext>
            </a:extLst>
          </p:cNvPr>
          <p:cNvSpPr txBox="1">
            <a:spLocks/>
          </p:cNvSpPr>
          <p:nvPr/>
        </p:nvSpPr>
        <p:spPr>
          <a:xfrm>
            <a:off x="539552" y="4908469"/>
            <a:ext cx="4104456" cy="200055"/>
          </a:xfrm>
          <a:prstGeom prst="rect">
            <a:avLst/>
          </a:prstGeom>
          <a:noFill/>
        </p:spPr>
        <p:txBody>
          <a:bodyPr wrap="square" rtlCol="0">
            <a:spAutoFit/>
          </a:bodyPr>
          <a:lstStyle>
            <a:defPPr>
              <a:defRPr lang="nb-NO"/>
            </a:defPPr>
            <a:lvl1pPr indent="0">
              <a:buClr>
                <a:schemeClr val="accent2"/>
              </a:buClr>
              <a:buFont typeface="Wingdings" pitchFamily="2" charset="2"/>
              <a:buNone/>
              <a:defRPr sz="700" i="1">
                <a:solidFill>
                  <a:schemeClr val="bg1"/>
                </a:solidFill>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ource: DNB</a:t>
            </a:r>
          </a:p>
        </p:txBody>
      </p:sp>
    </p:spTree>
    <p:extLst>
      <p:ext uri="{BB962C8B-B14F-4D97-AF65-F5344CB8AC3E}">
        <p14:creationId xmlns:p14="http://schemas.microsoft.com/office/powerpoint/2010/main" val="3110209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7A255-FC3F-4FC8-B74D-F86FD00C84DE}"/>
              </a:ext>
            </a:extLst>
          </p:cNvPr>
          <p:cNvSpPr>
            <a:spLocks noGrp="1"/>
          </p:cNvSpPr>
          <p:nvPr>
            <p:ph type="title"/>
          </p:nvPr>
        </p:nvSpPr>
        <p:spPr>
          <a:xfrm>
            <a:off x="755576" y="249158"/>
            <a:ext cx="8270878" cy="702152"/>
          </a:xfrm>
        </p:spPr>
        <p:txBody>
          <a:bodyPr/>
          <a:lstStyle/>
          <a:p>
            <a:r>
              <a:rPr lang="en-US" sz="3200" dirty="0"/>
              <a:t>What’s in it for me?</a:t>
            </a:r>
            <a:br>
              <a:rPr lang="en-US" dirty="0"/>
            </a:br>
            <a:r>
              <a:rPr lang="en-US" sz="1800" i="1" dirty="0"/>
              <a:t>Financing cost doesn’t decline on average just because we boil the planet</a:t>
            </a:r>
          </a:p>
        </p:txBody>
      </p:sp>
      <p:sp>
        <p:nvSpPr>
          <p:cNvPr id="3" name="Slide Number Placeholder 2">
            <a:extLst>
              <a:ext uri="{FF2B5EF4-FFF2-40B4-BE49-F238E27FC236}">
                <a16:creationId xmlns:a16="http://schemas.microsoft.com/office/drawing/2014/main" id="{972AC8E0-7A7E-4CA9-87D9-2C43C768119C}"/>
              </a:ext>
            </a:extLst>
          </p:cNvPr>
          <p:cNvSpPr>
            <a:spLocks noGrp="1"/>
          </p:cNvSpPr>
          <p:nvPr>
            <p:ph type="sldNum" sz="quarter" idx="16"/>
          </p:nvPr>
        </p:nvSpPr>
        <p:spPr/>
        <p:txBody>
          <a:bodyPr/>
          <a:lstStyle/>
          <a:p>
            <a:fld id="{DE050E36-BA33-43C0-AE7D-FD2A806B7DFE}" type="slidenum">
              <a:rPr lang="en-US" smtClean="0"/>
              <a:pPr/>
              <a:t>21</a:t>
            </a:fld>
            <a:endParaRPr lang="en-US" dirty="0"/>
          </a:p>
        </p:txBody>
      </p:sp>
      <p:sp>
        <p:nvSpPr>
          <p:cNvPr id="4" name="Text Placeholder 3">
            <a:extLst>
              <a:ext uri="{FF2B5EF4-FFF2-40B4-BE49-F238E27FC236}">
                <a16:creationId xmlns:a16="http://schemas.microsoft.com/office/drawing/2014/main" id="{C416B42F-BD44-403F-BC54-04D915867905}"/>
              </a:ext>
            </a:extLst>
          </p:cNvPr>
          <p:cNvSpPr>
            <a:spLocks noGrp="1"/>
          </p:cNvSpPr>
          <p:nvPr>
            <p:ph type="body" sz="quarter" idx="12"/>
          </p:nvPr>
        </p:nvSpPr>
        <p:spPr/>
        <p:txBody>
          <a:bodyPr>
            <a:normAutofit fontScale="70000" lnSpcReduction="20000"/>
          </a:bodyPr>
          <a:lstStyle/>
          <a:p>
            <a:endParaRPr lang="en-US" dirty="0"/>
          </a:p>
        </p:txBody>
      </p:sp>
      <p:sp>
        <p:nvSpPr>
          <p:cNvPr id="5" name="Text Placeholder 4">
            <a:extLst>
              <a:ext uri="{FF2B5EF4-FFF2-40B4-BE49-F238E27FC236}">
                <a16:creationId xmlns:a16="http://schemas.microsoft.com/office/drawing/2014/main" id="{887750D4-9A83-4465-8372-414C7F534655}"/>
              </a:ext>
            </a:extLst>
          </p:cNvPr>
          <p:cNvSpPr>
            <a:spLocks noGrp="1"/>
          </p:cNvSpPr>
          <p:nvPr>
            <p:ph type="body" sz="quarter" idx="14"/>
          </p:nvPr>
        </p:nvSpPr>
        <p:spPr/>
        <p:txBody>
          <a:bodyPr/>
          <a:lstStyle/>
          <a:p>
            <a:endParaRPr lang="en-US" dirty="0"/>
          </a:p>
        </p:txBody>
      </p:sp>
      <p:pic>
        <p:nvPicPr>
          <p:cNvPr id="7" name="Picture 4" descr="Quit with the Carrot and Stick Analogy for Sales Team Motivation">
            <a:extLst>
              <a:ext uri="{FF2B5EF4-FFF2-40B4-BE49-F238E27FC236}">
                <a16:creationId xmlns:a16="http://schemas.microsoft.com/office/drawing/2014/main" id="{B03DD7C0-40E2-40F0-BAEF-E7569464F3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7044" y="1745539"/>
            <a:ext cx="4001420" cy="237885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8E3132C6-0CA0-4BC6-BE74-30E3FDBE1325}"/>
              </a:ext>
            </a:extLst>
          </p:cNvPr>
          <p:cNvPicPr>
            <a:picLocks noChangeAspect="1"/>
          </p:cNvPicPr>
          <p:nvPr/>
        </p:nvPicPr>
        <p:blipFill>
          <a:blip r:embed="rId4"/>
          <a:stretch>
            <a:fillRect/>
          </a:stretch>
        </p:blipFill>
        <p:spPr>
          <a:xfrm>
            <a:off x="971600" y="1203598"/>
            <a:ext cx="3240360" cy="3039071"/>
          </a:xfrm>
          <a:prstGeom prst="rect">
            <a:avLst/>
          </a:prstGeom>
        </p:spPr>
      </p:pic>
    </p:spTree>
    <p:extLst>
      <p:ext uri="{BB962C8B-B14F-4D97-AF65-F5344CB8AC3E}">
        <p14:creationId xmlns:p14="http://schemas.microsoft.com/office/powerpoint/2010/main" val="4109069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99992" y="1204092"/>
            <a:ext cx="4824536" cy="2252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0469566">
            <a:off x="5061104" y="2065934"/>
            <a:ext cx="1791369" cy="444500"/>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a:xfrm>
            <a:off x="944882" y="-2610"/>
            <a:ext cx="7875590" cy="702152"/>
          </a:xfrm>
        </p:spPr>
        <p:txBody>
          <a:bodyPr vert="horz" lIns="77925" tIns="38963" rIns="77925" bIns="38963" rtlCol="0" anchor="b" anchorCtr="0">
            <a:noAutofit/>
          </a:bodyPr>
          <a:lstStyle/>
          <a:p>
            <a:r>
              <a:rPr lang="en-US" sz="3200" dirty="0"/>
              <a:t>From cost of capital to access to capital</a:t>
            </a:r>
          </a:p>
        </p:txBody>
      </p:sp>
      <p:sp>
        <p:nvSpPr>
          <p:cNvPr id="3" name="Slide Number Placeholder 2"/>
          <p:cNvSpPr>
            <a:spLocks noGrp="1"/>
          </p:cNvSpPr>
          <p:nvPr>
            <p:ph type="sldNum" sz="quarter" idx="16"/>
          </p:nvPr>
        </p:nvSpPr>
        <p:spPr/>
        <p:txBody>
          <a:bodyPr/>
          <a:lstStyle/>
          <a:p>
            <a:fld id="{DE050E36-BA33-43C0-AE7D-FD2A806B7DFE}" type="slidenum">
              <a:rPr lang="nb-NO" smtClean="0"/>
              <a:pPr/>
              <a:t>22</a:t>
            </a:fld>
            <a:endParaRPr lang="nb-NO"/>
          </a:p>
        </p:txBody>
      </p:sp>
      <p:sp>
        <p:nvSpPr>
          <p:cNvPr id="4" name="Text Placeholder 3"/>
          <p:cNvSpPr>
            <a:spLocks noGrp="1"/>
          </p:cNvSpPr>
          <p:nvPr>
            <p:ph type="body" sz="quarter" idx="12"/>
          </p:nvPr>
        </p:nvSpPr>
        <p:spPr/>
        <p:txBody>
          <a:bodyPr>
            <a:normAutofit fontScale="70000" lnSpcReduction="20000"/>
          </a:bodyPr>
          <a:lstStyle/>
          <a:p>
            <a:endParaRPr lang="nb-NO"/>
          </a:p>
        </p:txBody>
      </p:sp>
      <p:sp>
        <p:nvSpPr>
          <p:cNvPr id="5" name="Text Placeholder 4"/>
          <p:cNvSpPr>
            <a:spLocks noGrp="1"/>
          </p:cNvSpPr>
          <p:nvPr>
            <p:ph type="body" sz="quarter" idx="14"/>
          </p:nvPr>
        </p:nvSpPr>
        <p:spPr/>
        <p:txBody>
          <a:bodyPr/>
          <a:lstStyle/>
          <a:p>
            <a:endParaRPr lang="nb-NO" dirty="0"/>
          </a:p>
        </p:txBody>
      </p:sp>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60032" y="1865441"/>
            <a:ext cx="1512168" cy="5078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6016" y="1911227"/>
            <a:ext cx="1820863" cy="444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00" y="2054536"/>
            <a:ext cx="1816279" cy="3011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1"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3802" y="1204093"/>
            <a:ext cx="3439320" cy="23037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9484428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23A7E-682F-98FF-6A4E-942C3661EBB8}"/>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F25B0642-9CD5-5DCA-9576-A621F75A04DB}"/>
              </a:ext>
            </a:extLst>
          </p:cNvPr>
          <p:cNvSpPr>
            <a:spLocks noGrp="1"/>
          </p:cNvSpPr>
          <p:nvPr>
            <p:ph type="sldNum" sz="quarter" idx="16"/>
          </p:nvPr>
        </p:nvSpPr>
        <p:spPr/>
        <p:txBody>
          <a:bodyPr/>
          <a:lstStyle/>
          <a:p>
            <a:fld id="{DE050E36-BA33-43C0-AE7D-FD2A806B7DFE}" type="slidenum">
              <a:rPr lang="nb-NO" smtClean="0"/>
              <a:pPr/>
              <a:t>23</a:t>
            </a:fld>
            <a:endParaRPr lang="nb-NO"/>
          </a:p>
        </p:txBody>
      </p:sp>
      <p:sp>
        <p:nvSpPr>
          <p:cNvPr id="4" name="Text Placeholder 3">
            <a:extLst>
              <a:ext uri="{FF2B5EF4-FFF2-40B4-BE49-F238E27FC236}">
                <a16:creationId xmlns:a16="http://schemas.microsoft.com/office/drawing/2014/main" id="{5F651F76-0DB2-9938-72C0-3814D12A2F24}"/>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A2B25FB9-5695-C35A-8518-D129EB2232A7}"/>
              </a:ext>
            </a:extLst>
          </p:cNvPr>
          <p:cNvSpPr>
            <a:spLocks noGrp="1"/>
          </p:cNvSpPr>
          <p:nvPr>
            <p:ph type="body" sz="quarter" idx="14"/>
          </p:nvPr>
        </p:nvSpPr>
        <p:spPr/>
        <p:txBody>
          <a:bodyPr/>
          <a:lstStyle/>
          <a:p>
            <a:endParaRPr lang="en-US"/>
          </a:p>
        </p:txBody>
      </p:sp>
      <p:sp>
        <p:nvSpPr>
          <p:cNvPr id="6" name="Content Placeholder 5">
            <a:extLst>
              <a:ext uri="{FF2B5EF4-FFF2-40B4-BE49-F238E27FC236}">
                <a16:creationId xmlns:a16="http://schemas.microsoft.com/office/drawing/2014/main" id="{AAAD93DC-27EA-A4B0-CC78-5BEE651285FD}"/>
              </a:ext>
            </a:extLst>
          </p:cNvPr>
          <p:cNvSpPr>
            <a:spLocks noGrp="1"/>
          </p:cNvSpPr>
          <p:nvPr>
            <p:ph sz="quarter" idx="17"/>
          </p:nvPr>
        </p:nvSpPr>
        <p:spPr/>
        <p:txBody>
          <a:bodyPr/>
          <a:lstStyle/>
          <a:p>
            <a:endParaRPr lang="en-US"/>
          </a:p>
        </p:txBody>
      </p:sp>
      <p:pic>
        <p:nvPicPr>
          <p:cNvPr id="1026" name="Picture 2">
            <a:extLst>
              <a:ext uri="{FF2B5EF4-FFF2-40B4-BE49-F238E27FC236}">
                <a16:creationId xmlns:a16="http://schemas.microsoft.com/office/drawing/2014/main" id="{557B8DA0-02A7-9C0A-FCE1-19F162D5EC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5805" y="153574"/>
            <a:ext cx="7165231" cy="47817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79064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FA5600-AEE5-4F75-8EA4-F3330390CE1A}"/>
              </a:ext>
            </a:extLst>
          </p:cNvPr>
          <p:cNvSpPr>
            <a:spLocks noGrp="1"/>
          </p:cNvSpPr>
          <p:nvPr>
            <p:ph type="sldNum" sz="quarter" idx="15"/>
          </p:nvPr>
        </p:nvSpPr>
        <p:spPr>
          <a:xfrm>
            <a:off x="8120656" y="4910696"/>
            <a:ext cx="731158" cy="171569"/>
          </a:xfrm>
        </p:spPr>
        <p:txBody>
          <a:bodyPr/>
          <a:lstStyle/>
          <a:p>
            <a:fld id="{DE050E36-BA33-43C0-AE7D-FD2A806B7DFE}" type="slidenum">
              <a:rPr lang="en-GB" smtClean="0"/>
              <a:pPr/>
              <a:t>24</a:t>
            </a:fld>
            <a:endParaRPr lang="en-GB" dirty="0"/>
          </a:p>
        </p:txBody>
      </p:sp>
      <p:sp>
        <p:nvSpPr>
          <p:cNvPr id="5" name="Text Placeholder 4">
            <a:extLst>
              <a:ext uri="{FF2B5EF4-FFF2-40B4-BE49-F238E27FC236}">
                <a16:creationId xmlns:a16="http://schemas.microsoft.com/office/drawing/2014/main" id="{0DCBAE99-71ED-4CE9-9DA3-B4E77E87F577}"/>
              </a:ext>
            </a:extLst>
          </p:cNvPr>
          <p:cNvSpPr>
            <a:spLocks noGrp="1"/>
          </p:cNvSpPr>
          <p:nvPr>
            <p:ph type="body" sz="quarter" idx="14"/>
          </p:nvPr>
        </p:nvSpPr>
        <p:spPr>
          <a:xfrm>
            <a:off x="860688" y="5091361"/>
            <a:ext cx="6171307" cy="216693"/>
          </a:xfrm>
        </p:spPr>
        <p:txBody>
          <a:bodyPr/>
          <a:lstStyle/>
          <a:p>
            <a:endParaRPr lang="en-US" dirty="0"/>
          </a:p>
        </p:txBody>
      </p:sp>
      <p:sp>
        <p:nvSpPr>
          <p:cNvPr id="6" name="Text Placeholder 5">
            <a:extLst>
              <a:ext uri="{FF2B5EF4-FFF2-40B4-BE49-F238E27FC236}">
                <a16:creationId xmlns:a16="http://schemas.microsoft.com/office/drawing/2014/main" id="{0C64CDC5-FA2A-4100-A211-BD57ABA59B4D}"/>
              </a:ext>
            </a:extLst>
          </p:cNvPr>
          <p:cNvSpPr>
            <a:spLocks noGrp="1"/>
          </p:cNvSpPr>
          <p:nvPr>
            <p:ph type="body" sz="quarter" idx="12"/>
          </p:nvPr>
        </p:nvSpPr>
        <p:spPr>
          <a:xfrm>
            <a:off x="4788024" y="252029"/>
            <a:ext cx="3960000" cy="132197"/>
          </a:xfrm>
        </p:spPr>
        <p:txBody>
          <a:bodyPr>
            <a:normAutofit fontScale="70000" lnSpcReduction="20000"/>
          </a:bodyPr>
          <a:lstStyle/>
          <a:p>
            <a:endParaRPr lang="en-US"/>
          </a:p>
        </p:txBody>
      </p:sp>
      <p:pic>
        <p:nvPicPr>
          <p:cNvPr id="9" name="Graphic 8">
            <a:extLst>
              <a:ext uri="{FF2B5EF4-FFF2-40B4-BE49-F238E27FC236}">
                <a16:creationId xmlns:a16="http://schemas.microsoft.com/office/drawing/2014/main" id="{D771D711-F77D-472A-B90C-68D2A971C85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3568" y="232804"/>
            <a:ext cx="7540878" cy="4931234"/>
          </a:xfrm>
          <a:prstGeom prst="rect">
            <a:avLst/>
          </a:prstGeom>
        </p:spPr>
      </p:pic>
      <p:pic>
        <p:nvPicPr>
          <p:cNvPr id="10" name="Picture 9">
            <a:extLst>
              <a:ext uri="{FF2B5EF4-FFF2-40B4-BE49-F238E27FC236}">
                <a16:creationId xmlns:a16="http://schemas.microsoft.com/office/drawing/2014/main" id="{0BA01389-09EB-4A23-ABF7-7EFEAE134BCB}"/>
              </a:ext>
            </a:extLst>
          </p:cNvPr>
          <p:cNvPicPr>
            <a:picLocks noChangeAspect="1"/>
          </p:cNvPicPr>
          <p:nvPr/>
        </p:nvPicPr>
        <p:blipFill>
          <a:blip r:embed="rId5"/>
          <a:stretch>
            <a:fillRect/>
          </a:stretch>
        </p:blipFill>
        <p:spPr>
          <a:xfrm rot="16200000">
            <a:off x="961480" y="1362490"/>
            <a:ext cx="303814" cy="139557"/>
          </a:xfrm>
          <a:prstGeom prst="rect">
            <a:avLst/>
          </a:prstGeom>
        </p:spPr>
      </p:pic>
      <p:pic>
        <p:nvPicPr>
          <p:cNvPr id="11" name="Picture 10">
            <a:extLst>
              <a:ext uri="{FF2B5EF4-FFF2-40B4-BE49-F238E27FC236}">
                <a16:creationId xmlns:a16="http://schemas.microsoft.com/office/drawing/2014/main" id="{30D1B1F4-16B6-4330-B7FF-8E2BF42CB460}"/>
              </a:ext>
            </a:extLst>
          </p:cNvPr>
          <p:cNvPicPr>
            <a:picLocks noChangeAspect="1"/>
          </p:cNvPicPr>
          <p:nvPr/>
        </p:nvPicPr>
        <p:blipFill>
          <a:blip r:embed="rId5"/>
          <a:stretch>
            <a:fillRect/>
          </a:stretch>
        </p:blipFill>
        <p:spPr>
          <a:xfrm rot="16200000">
            <a:off x="1126543" y="1578514"/>
            <a:ext cx="303814" cy="139557"/>
          </a:xfrm>
          <a:prstGeom prst="rect">
            <a:avLst/>
          </a:prstGeom>
        </p:spPr>
      </p:pic>
      <p:pic>
        <p:nvPicPr>
          <p:cNvPr id="12" name="Picture 11">
            <a:extLst>
              <a:ext uri="{FF2B5EF4-FFF2-40B4-BE49-F238E27FC236}">
                <a16:creationId xmlns:a16="http://schemas.microsoft.com/office/drawing/2014/main" id="{FA786DDA-DD79-4B56-975A-BA2C268C5F31}"/>
              </a:ext>
            </a:extLst>
          </p:cNvPr>
          <p:cNvPicPr>
            <a:picLocks noChangeAspect="1"/>
          </p:cNvPicPr>
          <p:nvPr/>
        </p:nvPicPr>
        <p:blipFill>
          <a:blip r:embed="rId5"/>
          <a:stretch>
            <a:fillRect/>
          </a:stretch>
        </p:blipFill>
        <p:spPr>
          <a:xfrm rot="16200000">
            <a:off x="1321520" y="1846008"/>
            <a:ext cx="303814" cy="139557"/>
          </a:xfrm>
          <a:prstGeom prst="rect">
            <a:avLst/>
          </a:prstGeom>
        </p:spPr>
      </p:pic>
      <p:pic>
        <p:nvPicPr>
          <p:cNvPr id="13" name="Picture 12">
            <a:extLst>
              <a:ext uri="{FF2B5EF4-FFF2-40B4-BE49-F238E27FC236}">
                <a16:creationId xmlns:a16="http://schemas.microsoft.com/office/drawing/2014/main" id="{7D21910D-9E45-4D3D-8F98-7F9ABB03AE29}"/>
              </a:ext>
            </a:extLst>
          </p:cNvPr>
          <p:cNvPicPr>
            <a:picLocks noChangeAspect="1"/>
          </p:cNvPicPr>
          <p:nvPr/>
        </p:nvPicPr>
        <p:blipFill>
          <a:blip r:embed="rId5"/>
          <a:stretch>
            <a:fillRect/>
          </a:stretch>
        </p:blipFill>
        <p:spPr>
          <a:xfrm rot="16200000">
            <a:off x="1808504" y="2154578"/>
            <a:ext cx="303814" cy="139557"/>
          </a:xfrm>
          <a:prstGeom prst="rect">
            <a:avLst/>
          </a:prstGeom>
        </p:spPr>
      </p:pic>
      <p:pic>
        <p:nvPicPr>
          <p:cNvPr id="14" name="Picture 13">
            <a:extLst>
              <a:ext uri="{FF2B5EF4-FFF2-40B4-BE49-F238E27FC236}">
                <a16:creationId xmlns:a16="http://schemas.microsoft.com/office/drawing/2014/main" id="{0252EF73-F97E-46B3-977D-725412C5E759}"/>
              </a:ext>
            </a:extLst>
          </p:cNvPr>
          <p:cNvPicPr>
            <a:picLocks noChangeAspect="1"/>
          </p:cNvPicPr>
          <p:nvPr/>
        </p:nvPicPr>
        <p:blipFill>
          <a:blip r:embed="rId5"/>
          <a:stretch>
            <a:fillRect/>
          </a:stretch>
        </p:blipFill>
        <p:spPr>
          <a:xfrm rot="16200000">
            <a:off x="2381850" y="2465889"/>
            <a:ext cx="303814" cy="139557"/>
          </a:xfrm>
          <a:prstGeom prst="rect">
            <a:avLst/>
          </a:prstGeom>
        </p:spPr>
      </p:pic>
      <p:pic>
        <p:nvPicPr>
          <p:cNvPr id="15" name="Picture 14">
            <a:extLst>
              <a:ext uri="{FF2B5EF4-FFF2-40B4-BE49-F238E27FC236}">
                <a16:creationId xmlns:a16="http://schemas.microsoft.com/office/drawing/2014/main" id="{B734B229-01E3-4020-BAA0-9CB9EA57665D}"/>
              </a:ext>
            </a:extLst>
          </p:cNvPr>
          <p:cNvPicPr>
            <a:picLocks noChangeAspect="1"/>
          </p:cNvPicPr>
          <p:nvPr/>
        </p:nvPicPr>
        <p:blipFill>
          <a:blip r:embed="rId5"/>
          <a:stretch>
            <a:fillRect/>
          </a:stretch>
        </p:blipFill>
        <p:spPr>
          <a:xfrm rot="16200000">
            <a:off x="2855699" y="2582748"/>
            <a:ext cx="303814" cy="139557"/>
          </a:xfrm>
          <a:prstGeom prst="rect">
            <a:avLst/>
          </a:prstGeom>
        </p:spPr>
      </p:pic>
      <p:pic>
        <p:nvPicPr>
          <p:cNvPr id="16" name="Picture 15">
            <a:extLst>
              <a:ext uri="{FF2B5EF4-FFF2-40B4-BE49-F238E27FC236}">
                <a16:creationId xmlns:a16="http://schemas.microsoft.com/office/drawing/2014/main" id="{2CADD377-2630-40ED-9A57-021DA339255E}"/>
              </a:ext>
            </a:extLst>
          </p:cNvPr>
          <p:cNvPicPr>
            <a:picLocks noChangeAspect="1"/>
          </p:cNvPicPr>
          <p:nvPr/>
        </p:nvPicPr>
        <p:blipFill>
          <a:blip r:embed="rId5"/>
          <a:stretch>
            <a:fillRect/>
          </a:stretch>
        </p:blipFill>
        <p:spPr>
          <a:xfrm rot="16200000">
            <a:off x="2995257" y="2612899"/>
            <a:ext cx="303814" cy="139557"/>
          </a:xfrm>
          <a:prstGeom prst="rect">
            <a:avLst/>
          </a:prstGeom>
        </p:spPr>
      </p:pic>
      <p:pic>
        <p:nvPicPr>
          <p:cNvPr id="17" name="Picture 16">
            <a:extLst>
              <a:ext uri="{FF2B5EF4-FFF2-40B4-BE49-F238E27FC236}">
                <a16:creationId xmlns:a16="http://schemas.microsoft.com/office/drawing/2014/main" id="{B4F98BD9-43D4-42E6-8908-6415F57FE916}"/>
              </a:ext>
            </a:extLst>
          </p:cNvPr>
          <p:cNvPicPr>
            <a:picLocks noChangeAspect="1"/>
          </p:cNvPicPr>
          <p:nvPr/>
        </p:nvPicPr>
        <p:blipFill>
          <a:blip r:embed="rId5"/>
          <a:stretch>
            <a:fillRect/>
          </a:stretch>
        </p:blipFill>
        <p:spPr>
          <a:xfrm rot="16200000">
            <a:off x="2495429" y="2462983"/>
            <a:ext cx="303814" cy="139557"/>
          </a:xfrm>
          <a:prstGeom prst="rect">
            <a:avLst/>
          </a:prstGeom>
        </p:spPr>
      </p:pic>
      <p:pic>
        <p:nvPicPr>
          <p:cNvPr id="18" name="Picture 17">
            <a:extLst>
              <a:ext uri="{FF2B5EF4-FFF2-40B4-BE49-F238E27FC236}">
                <a16:creationId xmlns:a16="http://schemas.microsoft.com/office/drawing/2014/main" id="{06B05072-9EEB-41CE-9465-DE37E3A3791E}"/>
              </a:ext>
            </a:extLst>
          </p:cNvPr>
          <p:cNvPicPr>
            <a:picLocks noChangeAspect="1"/>
          </p:cNvPicPr>
          <p:nvPr/>
        </p:nvPicPr>
        <p:blipFill>
          <a:blip r:embed="rId6"/>
          <a:stretch>
            <a:fillRect/>
          </a:stretch>
        </p:blipFill>
        <p:spPr>
          <a:xfrm>
            <a:off x="1031642" y="1105361"/>
            <a:ext cx="177029" cy="129021"/>
          </a:xfrm>
          <a:prstGeom prst="rect">
            <a:avLst/>
          </a:prstGeom>
        </p:spPr>
      </p:pic>
      <p:pic>
        <p:nvPicPr>
          <p:cNvPr id="19" name="Picture 18">
            <a:extLst>
              <a:ext uri="{FF2B5EF4-FFF2-40B4-BE49-F238E27FC236}">
                <a16:creationId xmlns:a16="http://schemas.microsoft.com/office/drawing/2014/main" id="{4C7E67B5-B61D-4B63-9D05-36D1B8085E9D}"/>
              </a:ext>
            </a:extLst>
          </p:cNvPr>
          <p:cNvPicPr>
            <a:picLocks noChangeAspect="1"/>
          </p:cNvPicPr>
          <p:nvPr/>
        </p:nvPicPr>
        <p:blipFill>
          <a:blip r:embed="rId6"/>
          <a:stretch>
            <a:fillRect/>
          </a:stretch>
        </p:blipFill>
        <p:spPr>
          <a:xfrm>
            <a:off x="1217159" y="1303247"/>
            <a:ext cx="177029" cy="129021"/>
          </a:xfrm>
          <a:prstGeom prst="rect">
            <a:avLst/>
          </a:prstGeom>
        </p:spPr>
      </p:pic>
      <p:pic>
        <p:nvPicPr>
          <p:cNvPr id="20" name="Picture 19">
            <a:extLst>
              <a:ext uri="{FF2B5EF4-FFF2-40B4-BE49-F238E27FC236}">
                <a16:creationId xmlns:a16="http://schemas.microsoft.com/office/drawing/2014/main" id="{69D34B95-5EAA-4049-97D3-F96B7430134D}"/>
              </a:ext>
            </a:extLst>
          </p:cNvPr>
          <p:cNvPicPr>
            <a:picLocks noChangeAspect="1"/>
          </p:cNvPicPr>
          <p:nvPr/>
        </p:nvPicPr>
        <p:blipFill>
          <a:blip r:embed="rId6"/>
          <a:stretch>
            <a:fillRect/>
          </a:stretch>
        </p:blipFill>
        <p:spPr>
          <a:xfrm>
            <a:off x="1403648" y="1506625"/>
            <a:ext cx="177029" cy="129021"/>
          </a:xfrm>
          <a:prstGeom prst="rect">
            <a:avLst/>
          </a:prstGeom>
        </p:spPr>
      </p:pic>
      <p:pic>
        <p:nvPicPr>
          <p:cNvPr id="21" name="Picture 20">
            <a:extLst>
              <a:ext uri="{FF2B5EF4-FFF2-40B4-BE49-F238E27FC236}">
                <a16:creationId xmlns:a16="http://schemas.microsoft.com/office/drawing/2014/main" id="{9059C610-857A-459F-91AB-635D401F24D6}"/>
              </a:ext>
            </a:extLst>
          </p:cNvPr>
          <p:cNvPicPr>
            <a:picLocks noChangeAspect="1"/>
          </p:cNvPicPr>
          <p:nvPr/>
        </p:nvPicPr>
        <p:blipFill>
          <a:blip r:embed="rId6"/>
          <a:stretch>
            <a:fillRect/>
          </a:stretch>
        </p:blipFill>
        <p:spPr>
          <a:xfrm>
            <a:off x="3147164" y="2356083"/>
            <a:ext cx="177029" cy="129021"/>
          </a:xfrm>
          <a:prstGeom prst="rect">
            <a:avLst/>
          </a:prstGeom>
        </p:spPr>
      </p:pic>
      <p:pic>
        <p:nvPicPr>
          <p:cNvPr id="22" name="Picture 21">
            <a:extLst>
              <a:ext uri="{FF2B5EF4-FFF2-40B4-BE49-F238E27FC236}">
                <a16:creationId xmlns:a16="http://schemas.microsoft.com/office/drawing/2014/main" id="{DC6550B8-67A8-4E80-8C33-77C3818C5EAE}"/>
              </a:ext>
            </a:extLst>
          </p:cNvPr>
          <p:cNvPicPr>
            <a:picLocks noChangeAspect="1"/>
          </p:cNvPicPr>
          <p:nvPr/>
        </p:nvPicPr>
        <p:blipFill>
          <a:blip r:embed="rId7"/>
          <a:stretch>
            <a:fillRect/>
          </a:stretch>
        </p:blipFill>
        <p:spPr>
          <a:xfrm>
            <a:off x="2441618" y="2130539"/>
            <a:ext cx="184278" cy="133322"/>
          </a:xfrm>
          <a:prstGeom prst="rect">
            <a:avLst/>
          </a:prstGeom>
        </p:spPr>
      </p:pic>
      <p:pic>
        <p:nvPicPr>
          <p:cNvPr id="23" name="Picture 22">
            <a:extLst>
              <a:ext uri="{FF2B5EF4-FFF2-40B4-BE49-F238E27FC236}">
                <a16:creationId xmlns:a16="http://schemas.microsoft.com/office/drawing/2014/main" id="{EB59F9F5-B4D0-4C39-AE31-9075F06620F1}"/>
              </a:ext>
            </a:extLst>
          </p:cNvPr>
          <p:cNvPicPr>
            <a:picLocks noChangeAspect="1"/>
          </p:cNvPicPr>
          <p:nvPr/>
        </p:nvPicPr>
        <p:blipFill>
          <a:blip r:embed="rId8"/>
          <a:stretch>
            <a:fillRect/>
          </a:stretch>
        </p:blipFill>
        <p:spPr>
          <a:xfrm>
            <a:off x="1855478" y="1887203"/>
            <a:ext cx="196242" cy="129021"/>
          </a:xfrm>
          <a:prstGeom prst="rect">
            <a:avLst/>
          </a:prstGeom>
        </p:spPr>
      </p:pic>
      <p:pic>
        <p:nvPicPr>
          <p:cNvPr id="24" name="Picture 23">
            <a:extLst>
              <a:ext uri="{FF2B5EF4-FFF2-40B4-BE49-F238E27FC236}">
                <a16:creationId xmlns:a16="http://schemas.microsoft.com/office/drawing/2014/main" id="{68925AF8-EF9B-43E0-BEA9-B229E4493F49}"/>
              </a:ext>
            </a:extLst>
          </p:cNvPr>
          <p:cNvPicPr>
            <a:picLocks noChangeAspect="1"/>
          </p:cNvPicPr>
          <p:nvPr/>
        </p:nvPicPr>
        <p:blipFill>
          <a:blip r:embed="rId8"/>
          <a:stretch>
            <a:fillRect/>
          </a:stretch>
        </p:blipFill>
        <p:spPr>
          <a:xfrm>
            <a:off x="2941631" y="2303494"/>
            <a:ext cx="196242" cy="129021"/>
          </a:xfrm>
          <a:prstGeom prst="rect">
            <a:avLst/>
          </a:prstGeom>
        </p:spPr>
      </p:pic>
      <p:pic>
        <p:nvPicPr>
          <p:cNvPr id="25" name="Picture 24">
            <a:extLst>
              <a:ext uri="{FF2B5EF4-FFF2-40B4-BE49-F238E27FC236}">
                <a16:creationId xmlns:a16="http://schemas.microsoft.com/office/drawing/2014/main" id="{D1881DE3-F7CB-4985-A64D-34396EB1332D}"/>
              </a:ext>
            </a:extLst>
          </p:cNvPr>
          <p:cNvPicPr>
            <a:picLocks noChangeAspect="1"/>
          </p:cNvPicPr>
          <p:nvPr/>
        </p:nvPicPr>
        <p:blipFill>
          <a:blip r:embed="rId9"/>
          <a:stretch>
            <a:fillRect/>
          </a:stretch>
        </p:blipFill>
        <p:spPr>
          <a:xfrm>
            <a:off x="2583827" y="2239173"/>
            <a:ext cx="225602" cy="130995"/>
          </a:xfrm>
          <a:prstGeom prst="rect">
            <a:avLst/>
          </a:prstGeom>
        </p:spPr>
      </p:pic>
      <p:sp>
        <p:nvSpPr>
          <p:cNvPr id="28" name="Left Brace 27">
            <a:extLst>
              <a:ext uri="{FF2B5EF4-FFF2-40B4-BE49-F238E27FC236}">
                <a16:creationId xmlns:a16="http://schemas.microsoft.com/office/drawing/2014/main" id="{54EF33D7-79E2-4CFC-B1B6-36C29C86E920}"/>
              </a:ext>
            </a:extLst>
          </p:cNvPr>
          <p:cNvSpPr/>
          <p:nvPr/>
        </p:nvSpPr>
        <p:spPr>
          <a:xfrm rot="5400000">
            <a:off x="1407925" y="535345"/>
            <a:ext cx="100060" cy="899498"/>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 name="Left Brace 28">
            <a:extLst>
              <a:ext uri="{FF2B5EF4-FFF2-40B4-BE49-F238E27FC236}">
                <a16:creationId xmlns:a16="http://schemas.microsoft.com/office/drawing/2014/main" id="{57AA87EB-0B31-4444-A89E-288A969CE543}"/>
              </a:ext>
            </a:extLst>
          </p:cNvPr>
          <p:cNvSpPr/>
          <p:nvPr/>
        </p:nvSpPr>
        <p:spPr>
          <a:xfrm rot="5400000">
            <a:off x="3221930" y="397024"/>
            <a:ext cx="107852" cy="273630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Left Brace 29">
            <a:extLst>
              <a:ext uri="{FF2B5EF4-FFF2-40B4-BE49-F238E27FC236}">
                <a16:creationId xmlns:a16="http://schemas.microsoft.com/office/drawing/2014/main" id="{4A0ED712-F7AA-478F-97D8-6792A2831FBA}"/>
              </a:ext>
            </a:extLst>
          </p:cNvPr>
          <p:cNvSpPr/>
          <p:nvPr/>
        </p:nvSpPr>
        <p:spPr>
          <a:xfrm rot="5400000">
            <a:off x="6270044" y="1542318"/>
            <a:ext cx="276320" cy="352839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1" name="TextBox 30">
            <a:extLst>
              <a:ext uri="{FF2B5EF4-FFF2-40B4-BE49-F238E27FC236}">
                <a16:creationId xmlns:a16="http://schemas.microsoft.com/office/drawing/2014/main" id="{E271D6E2-2CFD-4D0D-91D1-B92E6FF6F37E}"/>
              </a:ext>
            </a:extLst>
          </p:cNvPr>
          <p:cNvSpPr txBox="1"/>
          <p:nvPr/>
        </p:nvSpPr>
        <p:spPr>
          <a:xfrm>
            <a:off x="1195486" y="660054"/>
            <a:ext cx="712218" cy="215444"/>
          </a:xfrm>
          <a:prstGeom prst="rect">
            <a:avLst/>
          </a:prstGeom>
          <a:noFill/>
        </p:spPr>
        <p:txBody>
          <a:bodyPr wrap="square" rtlCol="0">
            <a:spAutoFit/>
          </a:bodyPr>
          <a:lstStyle/>
          <a:p>
            <a:pPr marL="0" indent="0">
              <a:buClr>
                <a:schemeClr val="accent2"/>
              </a:buClr>
              <a:buFont typeface="Wingdings" pitchFamily="2" charset="2"/>
              <a:buNone/>
            </a:pPr>
            <a:r>
              <a:rPr lang="nb-NO" sz="800" i="1" dirty="0"/>
              <a:t>Low risk</a:t>
            </a:r>
            <a:endParaRPr lang="en-US" sz="800" i="1" dirty="0"/>
          </a:p>
        </p:txBody>
      </p:sp>
      <p:sp>
        <p:nvSpPr>
          <p:cNvPr id="32" name="TextBox 31">
            <a:extLst>
              <a:ext uri="{FF2B5EF4-FFF2-40B4-BE49-F238E27FC236}">
                <a16:creationId xmlns:a16="http://schemas.microsoft.com/office/drawing/2014/main" id="{FB61DEC4-94D4-447D-9365-E29EDA85F398}"/>
              </a:ext>
            </a:extLst>
          </p:cNvPr>
          <p:cNvSpPr txBox="1"/>
          <p:nvPr/>
        </p:nvSpPr>
        <p:spPr>
          <a:xfrm>
            <a:off x="3064290" y="1487349"/>
            <a:ext cx="787630" cy="215444"/>
          </a:xfrm>
          <a:prstGeom prst="rect">
            <a:avLst/>
          </a:prstGeom>
          <a:noFill/>
        </p:spPr>
        <p:txBody>
          <a:bodyPr wrap="square" rtlCol="0">
            <a:spAutoFit/>
          </a:bodyPr>
          <a:lstStyle/>
          <a:p>
            <a:pPr marL="0" indent="0">
              <a:buClr>
                <a:schemeClr val="accent2"/>
              </a:buClr>
              <a:buFont typeface="Wingdings" pitchFamily="2" charset="2"/>
              <a:buNone/>
            </a:pPr>
            <a:r>
              <a:rPr lang="nb-NO" sz="800" i="1" dirty="0"/>
              <a:t>Medium Risk</a:t>
            </a:r>
            <a:endParaRPr lang="en-US" sz="800" i="1" dirty="0"/>
          </a:p>
        </p:txBody>
      </p:sp>
      <p:sp>
        <p:nvSpPr>
          <p:cNvPr id="33" name="TextBox 32">
            <a:extLst>
              <a:ext uri="{FF2B5EF4-FFF2-40B4-BE49-F238E27FC236}">
                <a16:creationId xmlns:a16="http://schemas.microsoft.com/office/drawing/2014/main" id="{971251F4-661D-438E-9EDA-430AD32C52B3}"/>
              </a:ext>
            </a:extLst>
          </p:cNvPr>
          <p:cNvSpPr txBox="1"/>
          <p:nvPr/>
        </p:nvSpPr>
        <p:spPr>
          <a:xfrm>
            <a:off x="6359016" y="2888168"/>
            <a:ext cx="712218" cy="215444"/>
          </a:xfrm>
          <a:prstGeom prst="rect">
            <a:avLst/>
          </a:prstGeom>
          <a:noFill/>
        </p:spPr>
        <p:txBody>
          <a:bodyPr wrap="square" rtlCol="0">
            <a:spAutoFit/>
          </a:bodyPr>
          <a:lstStyle/>
          <a:p>
            <a:pPr marL="0" indent="0">
              <a:buClr>
                <a:schemeClr val="accent2"/>
              </a:buClr>
              <a:buFont typeface="Wingdings" pitchFamily="2" charset="2"/>
              <a:buNone/>
            </a:pPr>
            <a:r>
              <a:rPr lang="nb-NO" sz="800" i="1" dirty="0"/>
              <a:t>High risk</a:t>
            </a:r>
            <a:endParaRPr lang="en-US" sz="800" i="1" dirty="0"/>
          </a:p>
        </p:txBody>
      </p:sp>
      <p:sp>
        <p:nvSpPr>
          <p:cNvPr id="34" name="Title 1">
            <a:extLst>
              <a:ext uri="{FF2B5EF4-FFF2-40B4-BE49-F238E27FC236}">
                <a16:creationId xmlns:a16="http://schemas.microsoft.com/office/drawing/2014/main" id="{187E1190-8EAD-4D11-8408-1FD80FFD645A}"/>
              </a:ext>
            </a:extLst>
          </p:cNvPr>
          <p:cNvSpPr txBox="1">
            <a:spLocks/>
          </p:cNvSpPr>
          <p:nvPr/>
        </p:nvSpPr>
        <p:spPr>
          <a:xfrm>
            <a:off x="873123" y="-92546"/>
            <a:ext cx="7875590" cy="702152"/>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r>
              <a:rPr lang="en-US" dirty="0"/>
              <a:t>The </a:t>
            </a:r>
            <a:r>
              <a:rPr lang="en-US" dirty="0" err="1"/>
              <a:t>Coller</a:t>
            </a:r>
            <a:r>
              <a:rPr lang="en-US" dirty="0"/>
              <a:t> FAIRR Protein Producer Index</a:t>
            </a:r>
          </a:p>
        </p:txBody>
      </p:sp>
      <p:sp>
        <p:nvSpPr>
          <p:cNvPr id="4" name="TextBox 3">
            <a:extLst>
              <a:ext uri="{FF2B5EF4-FFF2-40B4-BE49-F238E27FC236}">
                <a16:creationId xmlns:a16="http://schemas.microsoft.com/office/drawing/2014/main" id="{86C3F69A-9E9B-4DC3-B3D5-32A1F6C6304F}"/>
              </a:ext>
            </a:extLst>
          </p:cNvPr>
          <p:cNvSpPr txBox="1"/>
          <p:nvPr/>
        </p:nvSpPr>
        <p:spPr>
          <a:xfrm>
            <a:off x="317286" y="4986816"/>
            <a:ext cx="3128854" cy="200055"/>
          </a:xfrm>
          <a:prstGeom prst="rect">
            <a:avLst/>
          </a:prstGeom>
          <a:noFill/>
        </p:spPr>
        <p:txBody>
          <a:bodyPr wrap="square" rtlCol="0">
            <a:spAutoFit/>
          </a:bodyPr>
          <a:lstStyle/>
          <a:p>
            <a:pPr marL="0" indent="0">
              <a:buClr>
                <a:schemeClr val="accent2"/>
              </a:buClr>
              <a:buFont typeface="Wingdings" pitchFamily="2" charset="2"/>
              <a:buNone/>
            </a:pPr>
            <a:r>
              <a:rPr lang="nb-NO" sz="700" i="1" dirty="0"/>
              <a:t>Source: </a:t>
            </a:r>
            <a:r>
              <a:rPr lang="nb-NO" sz="700" i="1" dirty="0" err="1"/>
              <a:t>Coller</a:t>
            </a:r>
            <a:r>
              <a:rPr lang="nb-NO" sz="700" i="1" dirty="0"/>
              <a:t> FAIRR</a:t>
            </a:r>
            <a:endParaRPr lang="en-US" sz="700" i="1" dirty="0"/>
          </a:p>
        </p:txBody>
      </p:sp>
    </p:spTree>
    <p:extLst>
      <p:ext uri="{BB962C8B-B14F-4D97-AF65-F5344CB8AC3E}">
        <p14:creationId xmlns:p14="http://schemas.microsoft.com/office/powerpoint/2010/main" val="10343608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5" name="Tittel 5"/>
          <p:cNvSpPr>
            <a:spLocks noGrp="1"/>
          </p:cNvSpPr>
          <p:nvPr>
            <p:ph type="title"/>
          </p:nvPr>
        </p:nvSpPr>
        <p:spPr>
          <a:xfrm>
            <a:off x="376125" y="280469"/>
            <a:ext cx="8100900" cy="540000"/>
          </a:xfrm>
        </p:spPr>
        <p:txBody>
          <a:bodyPr/>
          <a:lstStyle/>
          <a:p>
            <a:pPr marL="0" indent="0" algn="ctr"/>
            <a:r>
              <a:rPr lang="en-US" sz="2800" dirty="0">
                <a:solidFill>
                  <a:srgbClr val="FFFFFF"/>
                </a:solidFill>
                <a:latin typeface="+mj-lt"/>
              </a:rPr>
              <a:t>DNB Bank is a global seafood player</a:t>
            </a:r>
          </a:p>
        </p:txBody>
      </p:sp>
      <p:grpSp>
        <p:nvGrpSpPr>
          <p:cNvPr id="296" name="Gruppe 59"/>
          <p:cNvGrpSpPr/>
          <p:nvPr/>
        </p:nvGrpSpPr>
        <p:grpSpPr>
          <a:xfrm>
            <a:off x="1264719" y="1087390"/>
            <a:ext cx="7333818" cy="3644600"/>
            <a:chOff x="1066509" y="1391814"/>
            <a:chExt cx="6866141" cy="3412184"/>
          </a:xfrm>
          <a:solidFill>
            <a:srgbClr val="A5E1D2"/>
          </a:solidFill>
        </p:grpSpPr>
        <p:sp>
          <p:nvSpPr>
            <p:cNvPr id="297" name="Friform 7"/>
            <p:cNvSpPr/>
            <p:nvPr/>
          </p:nvSpPr>
          <p:spPr bwMode="auto">
            <a:xfrm>
              <a:off x="2699792" y="3311001"/>
              <a:ext cx="885845" cy="1492997"/>
            </a:xfrm>
            <a:custGeom>
              <a:avLst/>
              <a:gdLst>
                <a:gd name="connsiteX0" fmla="*/ 368300 w 1130300"/>
                <a:gd name="connsiteY0" fmla="*/ 50800 h 1905000"/>
                <a:gd name="connsiteX1" fmla="*/ 292100 w 1130300"/>
                <a:gd name="connsiteY1" fmla="*/ 0 h 1905000"/>
                <a:gd name="connsiteX2" fmla="*/ 260350 w 1130300"/>
                <a:gd name="connsiteY2" fmla="*/ 50800 h 1905000"/>
                <a:gd name="connsiteX3" fmla="*/ 260350 w 1130300"/>
                <a:gd name="connsiteY3" fmla="*/ 50800 h 1905000"/>
                <a:gd name="connsiteX4" fmla="*/ 215900 w 1130300"/>
                <a:gd name="connsiteY4" fmla="*/ 57150 h 1905000"/>
                <a:gd name="connsiteX5" fmla="*/ 247650 w 1130300"/>
                <a:gd name="connsiteY5" fmla="*/ 0 h 1905000"/>
                <a:gd name="connsiteX6" fmla="*/ 171450 w 1130300"/>
                <a:gd name="connsiteY6" fmla="*/ 31750 h 1905000"/>
                <a:gd name="connsiteX7" fmla="*/ 107950 w 1130300"/>
                <a:gd name="connsiteY7" fmla="*/ 95250 h 1905000"/>
                <a:gd name="connsiteX8" fmla="*/ 114300 w 1130300"/>
                <a:gd name="connsiteY8" fmla="*/ 222250 h 1905000"/>
                <a:gd name="connsiteX9" fmla="*/ 12700 w 1130300"/>
                <a:gd name="connsiteY9" fmla="*/ 323850 h 1905000"/>
                <a:gd name="connsiteX10" fmla="*/ 12700 w 1130300"/>
                <a:gd name="connsiteY10" fmla="*/ 323850 h 1905000"/>
                <a:gd name="connsiteX11" fmla="*/ 50800 w 1130300"/>
                <a:gd name="connsiteY11" fmla="*/ 393700 h 1905000"/>
                <a:gd name="connsiteX12" fmla="*/ 0 w 1130300"/>
                <a:gd name="connsiteY12" fmla="*/ 438150 h 1905000"/>
                <a:gd name="connsiteX13" fmla="*/ 127000 w 1130300"/>
                <a:gd name="connsiteY13" fmla="*/ 641350 h 1905000"/>
                <a:gd name="connsiteX14" fmla="*/ 127000 w 1130300"/>
                <a:gd name="connsiteY14" fmla="*/ 641350 h 1905000"/>
                <a:gd name="connsiteX15" fmla="*/ 298450 w 1130300"/>
                <a:gd name="connsiteY15" fmla="*/ 768350 h 1905000"/>
                <a:gd name="connsiteX16" fmla="*/ 247650 w 1130300"/>
                <a:gd name="connsiteY16" fmla="*/ 1060450 h 1905000"/>
                <a:gd name="connsiteX17" fmla="*/ 203200 w 1130300"/>
                <a:gd name="connsiteY17" fmla="*/ 1289050 h 1905000"/>
                <a:gd name="connsiteX18" fmla="*/ 177800 w 1130300"/>
                <a:gd name="connsiteY18" fmla="*/ 1435100 h 1905000"/>
                <a:gd name="connsiteX19" fmla="*/ 133350 w 1130300"/>
                <a:gd name="connsiteY19" fmla="*/ 1574800 h 1905000"/>
                <a:gd name="connsiteX20" fmla="*/ 165100 w 1130300"/>
                <a:gd name="connsiteY20" fmla="*/ 1739900 h 1905000"/>
                <a:gd name="connsiteX21" fmla="*/ 196850 w 1130300"/>
                <a:gd name="connsiteY21" fmla="*/ 1873250 h 1905000"/>
                <a:gd name="connsiteX22" fmla="*/ 266700 w 1130300"/>
                <a:gd name="connsiteY22" fmla="*/ 1905000 h 1905000"/>
                <a:gd name="connsiteX23" fmla="*/ 260350 w 1130300"/>
                <a:gd name="connsiteY23" fmla="*/ 1822450 h 1905000"/>
                <a:gd name="connsiteX24" fmla="*/ 228600 w 1130300"/>
                <a:gd name="connsiteY24" fmla="*/ 1771650 h 1905000"/>
                <a:gd name="connsiteX25" fmla="*/ 279400 w 1130300"/>
                <a:gd name="connsiteY25" fmla="*/ 1695450 h 1905000"/>
                <a:gd name="connsiteX26" fmla="*/ 298450 w 1130300"/>
                <a:gd name="connsiteY26" fmla="*/ 1581150 h 1905000"/>
                <a:gd name="connsiteX27" fmla="*/ 393700 w 1130300"/>
                <a:gd name="connsiteY27" fmla="*/ 1492250 h 1905000"/>
                <a:gd name="connsiteX28" fmla="*/ 387350 w 1130300"/>
                <a:gd name="connsiteY28" fmla="*/ 1409700 h 1905000"/>
                <a:gd name="connsiteX29" fmla="*/ 438150 w 1130300"/>
                <a:gd name="connsiteY29" fmla="*/ 1320800 h 1905000"/>
                <a:gd name="connsiteX30" fmla="*/ 508000 w 1130300"/>
                <a:gd name="connsiteY30" fmla="*/ 1257300 h 1905000"/>
                <a:gd name="connsiteX31" fmla="*/ 577850 w 1130300"/>
                <a:gd name="connsiteY31" fmla="*/ 1282700 h 1905000"/>
                <a:gd name="connsiteX32" fmla="*/ 615950 w 1130300"/>
                <a:gd name="connsiteY32" fmla="*/ 1212850 h 1905000"/>
                <a:gd name="connsiteX33" fmla="*/ 565150 w 1130300"/>
                <a:gd name="connsiteY33" fmla="*/ 1143000 h 1905000"/>
                <a:gd name="connsiteX34" fmla="*/ 666750 w 1130300"/>
                <a:gd name="connsiteY34" fmla="*/ 1174750 h 1905000"/>
                <a:gd name="connsiteX35" fmla="*/ 736600 w 1130300"/>
                <a:gd name="connsiteY35" fmla="*/ 1054100 h 1905000"/>
                <a:gd name="connsiteX36" fmla="*/ 781050 w 1130300"/>
                <a:gd name="connsiteY36" fmla="*/ 990600 h 1905000"/>
                <a:gd name="connsiteX37" fmla="*/ 819150 w 1130300"/>
                <a:gd name="connsiteY37" fmla="*/ 939800 h 1905000"/>
                <a:gd name="connsiteX38" fmla="*/ 806450 w 1130300"/>
                <a:gd name="connsiteY38" fmla="*/ 895350 h 1905000"/>
                <a:gd name="connsiteX39" fmla="*/ 850900 w 1130300"/>
                <a:gd name="connsiteY39" fmla="*/ 869950 h 1905000"/>
                <a:gd name="connsiteX40" fmla="*/ 965200 w 1130300"/>
                <a:gd name="connsiteY40" fmla="*/ 876300 h 1905000"/>
                <a:gd name="connsiteX41" fmla="*/ 1028700 w 1130300"/>
                <a:gd name="connsiteY41" fmla="*/ 755650 h 1905000"/>
                <a:gd name="connsiteX42" fmla="*/ 1047750 w 1130300"/>
                <a:gd name="connsiteY42" fmla="*/ 628650 h 1905000"/>
                <a:gd name="connsiteX43" fmla="*/ 1098550 w 1130300"/>
                <a:gd name="connsiteY43" fmla="*/ 565150 h 1905000"/>
                <a:gd name="connsiteX44" fmla="*/ 1123950 w 1130300"/>
                <a:gd name="connsiteY44" fmla="*/ 495300 h 1905000"/>
                <a:gd name="connsiteX45" fmla="*/ 1130300 w 1130300"/>
                <a:gd name="connsiteY45" fmla="*/ 425450 h 1905000"/>
                <a:gd name="connsiteX46" fmla="*/ 1047750 w 1130300"/>
                <a:gd name="connsiteY46" fmla="*/ 381000 h 1905000"/>
                <a:gd name="connsiteX47" fmla="*/ 984250 w 1130300"/>
                <a:gd name="connsiteY47" fmla="*/ 330200 h 1905000"/>
                <a:gd name="connsiteX48" fmla="*/ 920750 w 1130300"/>
                <a:gd name="connsiteY48" fmla="*/ 355600 h 1905000"/>
                <a:gd name="connsiteX49" fmla="*/ 920750 w 1130300"/>
                <a:gd name="connsiteY49" fmla="*/ 355600 h 1905000"/>
                <a:gd name="connsiteX50" fmla="*/ 920750 w 1130300"/>
                <a:gd name="connsiteY50" fmla="*/ 355600 h 1905000"/>
                <a:gd name="connsiteX51" fmla="*/ 838200 w 1130300"/>
                <a:gd name="connsiteY51" fmla="*/ 304800 h 1905000"/>
                <a:gd name="connsiteX52" fmla="*/ 781050 w 1130300"/>
                <a:gd name="connsiteY52" fmla="*/ 355600 h 1905000"/>
                <a:gd name="connsiteX53" fmla="*/ 812800 w 1130300"/>
                <a:gd name="connsiteY53" fmla="*/ 292100 h 1905000"/>
                <a:gd name="connsiteX54" fmla="*/ 812800 w 1130300"/>
                <a:gd name="connsiteY54" fmla="*/ 292100 h 1905000"/>
                <a:gd name="connsiteX55" fmla="*/ 723900 w 1130300"/>
                <a:gd name="connsiteY55" fmla="*/ 349250 h 1905000"/>
                <a:gd name="connsiteX56" fmla="*/ 762000 w 1130300"/>
                <a:gd name="connsiteY56" fmla="*/ 273050 h 1905000"/>
                <a:gd name="connsiteX57" fmla="*/ 730250 w 1130300"/>
                <a:gd name="connsiteY57" fmla="*/ 215900 h 1905000"/>
                <a:gd name="connsiteX58" fmla="*/ 704850 w 1130300"/>
                <a:gd name="connsiteY58" fmla="*/ 146050 h 1905000"/>
                <a:gd name="connsiteX59" fmla="*/ 628650 w 1130300"/>
                <a:gd name="connsiteY59" fmla="*/ 107950 h 1905000"/>
                <a:gd name="connsiteX60" fmla="*/ 571500 w 1130300"/>
                <a:gd name="connsiteY60" fmla="*/ 133350 h 1905000"/>
                <a:gd name="connsiteX61" fmla="*/ 508000 w 1130300"/>
                <a:gd name="connsiteY61" fmla="*/ 82550 h 1905000"/>
                <a:gd name="connsiteX62" fmla="*/ 457200 w 1130300"/>
                <a:gd name="connsiteY62" fmla="*/ 88900 h 1905000"/>
                <a:gd name="connsiteX63" fmla="*/ 501650 w 1130300"/>
                <a:gd name="connsiteY63" fmla="*/ 38100 h 1905000"/>
                <a:gd name="connsiteX64" fmla="*/ 425450 w 1130300"/>
                <a:gd name="connsiteY64" fmla="*/ 19050 h 1905000"/>
                <a:gd name="connsiteX65" fmla="*/ 368300 w 1130300"/>
                <a:gd name="connsiteY65" fmla="*/ 50800 h 19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130300" h="1905000">
                  <a:moveTo>
                    <a:pt x="368300" y="50800"/>
                  </a:moveTo>
                  <a:lnTo>
                    <a:pt x="292100" y="0"/>
                  </a:lnTo>
                  <a:lnTo>
                    <a:pt x="260350" y="50800"/>
                  </a:lnTo>
                  <a:lnTo>
                    <a:pt x="260350" y="50800"/>
                  </a:lnTo>
                  <a:lnTo>
                    <a:pt x="215900" y="57150"/>
                  </a:lnTo>
                  <a:lnTo>
                    <a:pt x="247650" y="0"/>
                  </a:lnTo>
                  <a:lnTo>
                    <a:pt x="171450" y="31750"/>
                  </a:lnTo>
                  <a:lnTo>
                    <a:pt x="107950" y="95250"/>
                  </a:lnTo>
                  <a:lnTo>
                    <a:pt x="114300" y="222250"/>
                  </a:lnTo>
                  <a:lnTo>
                    <a:pt x="12700" y="323850"/>
                  </a:lnTo>
                  <a:lnTo>
                    <a:pt x="12700" y="323850"/>
                  </a:lnTo>
                  <a:lnTo>
                    <a:pt x="50800" y="393700"/>
                  </a:lnTo>
                  <a:lnTo>
                    <a:pt x="0" y="438150"/>
                  </a:lnTo>
                  <a:lnTo>
                    <a:pt x="127000" y="641350"/>
                  </a:lnTo>
                  <a:lnTo>
                    <a:pt x="127000" y="641350"/>
                  </a:lnTo>
                  <a:lnTo>
                    <a:pt x="298450" y="768350"/>
                  </a:lnTo>
                  <a:lnTo>
                    <a:pt x="247650" y="1060450"/>
                  </a:lnTo>
                  <a:lnTo>
                    <a:pt x="203200" y="1289050"/>
                  </a:lnTo>
                  <a:lnTo>
                    <a:pt x="177800" y="1435100"/>
                  </a:lnTo>
                  <a:lnTo>
                    <a:pt x="133350" y="1574800"/>
                  </a:lnTo>
                  <a:lnTo>
                    <a:pt x="165100" y="1739900"/>
                  </a:lnTo>
                  <a:lnTo>
                    <a:pt x="196850" y="1873250"/>
                  </a:lnTo>
                  <a:lnTo>
                    <a:pt x="266700" y="1905000"/>
                  </a:lnTo>
                  <a:lnTo>
                    <a:pt x="260350" y="1822450"/>
                  </a:lnTo>
                  <a:lnTo>
                    <a:pt x="228600" y="1771650"/>
                  </a:lnTo>
                  <a:lnTo>
                    <a:pt x="279400" y="1695450"/>
                  </a:lnTo>
                  <a:lnTo>
                    <a:pt x="298450" y="1581150"/>
                  </a:lnTo>
                  <a:lnTo>
                    <a:pt x="393700" y="1492250"/>
                  </a:lnTo>
                  <a:lnTo>
                    <a:pt x="387350" y="1409700"/>
                  </a:lnTo>
                  <a:lnTo>
                    <a:pt x="438150" y="1320800"/>
                  </a:lnTo>
                  <a:lnTo>
                    <a:pt x="508000" y="1257300"/>
                  </a:lnTo>
                  <a:lnTo>
                    <a:pt x="577850" y="1282700"/>
                  </a:lnTo>
                  <a:lnTo>
                    <a:pt x="615950" y="1212850"/>
                  </a:lnTo>
                  <a:lnTo>
                    <a:pt x="565150" y="1143000"/>
                  </a:lnTo>
                  <a:lnTo>
                    <a:pt x="666750" y="1174750"/>
                  </a:lnTo>
                  <a:lnTo>
                    <a:pt x="736600" y="1054100"/>
                  </a:lnTo>
                  <a:lnTo>
                    <a:pt x="781050" y="990600"/>
                  </a:lnTo>
                  <a:lnTo>
                    <a:pt x="819150" y="939800"/>
                  </a:lnTo>
                  <a:lnTo>
                    <a:pt x="806450" y="895350"/>
                  </a:lnTo>
                  <a:lnTo>
                    <a:pt x="850900" y="869950"/>
                  </a:lnTo>
                  <a:lnTo>
                    <a:pt x="965200" y="876300"/>
                  </a:lnTo>
                  <a:lnTo>
                    <a:pt x="1028700" y="755650"/>
                  </a:lnTo>
                  <a:lnTo>
                    <a:pt x="1047750" y="628650"/>
                  </a:lnTo>
                  <a:lnTo>
                    <a:pt x="1098550" y="565150"/>
                  </a:lnTo>
                  <a:lnTo>
                    <a:pt x="1123950" y="495300"/>
                  </a:lnTo>
                  <a:lnTo>
                    <a:pt x="1130300" y="425450"/>
                  </a:lnTo>
                  <a:lnTo>
                    <a:pt x="1047750" y="381000"/>
                  </a:lnTo>
                  <a:lnTo>
                    <a:pt x="984250" y="330200"/>
                  </a:lnTo>
                  <a:lnTo>
                    <a:pt x="920750" y="355600"/>
                  </a:lnTo>
                  <a:lnTo>
                    <a:pt x="920750" y="355600"/>
                  </a:lnTo>
                  <a:lnTo>
                    <a:pt x="920750" y="355600"/>
                  </a:lnTo>
                  <a:lnTo>
                    <a:pt x="838200" y="304800"/>
                  </a:lnTo>
                  <a:lnTo>
                    <a:pt x="781050" y="355600"/>
                  </a:lnTo>
                  <a:lnTo>
                    <a:pt x="812800" y="292100"/>
                  </a:lnTo>
                  <a:lnTo>
                    <a:pt x="812800" y="292100"/>
                  </a:lnTo>
                  <a:lnTo>
                    <a:pt x="723900" y="349250"/>
                  </a:lnTo>
                  <a:lnTo>
                    <a:pt x="762000" y="273050"/>
                  </a:lnTo>
                  <a:lnTo>
                    <a:pt x="730250" y="215900"/>
                  </a:lnTo>
                  <a:lnTo>
                    <a:pt x="704850" y="146050"/>
                  </a:lnTo>
                  <a:lnTo>
                    <a:pt x="628650" y="107950"/>
                  </a:lnTo>
                  <a:lnTo>
                    <a:pt x="571500" y="133350"/>
                  </a:lnTo>
                  <a:lnTo>
                    <a:pt x="508000" y="82550"/>
                  </a:lnTo>
                  <a:lnTo>
                    <a:pt x="457200" y="88900"/>
                  </a:lnTo>
                  <a:lnTo>
                    <a:pt x="501650" y="38100"/>
                  </a:lnTo>
                  <a:lnTo>
                    <a:pt x="425450" y="19050"/>
                  </a:lnTo>
                  <a:lnTo>
                    <a:pt x="368300" y="5080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grpSp>
          <p:nvGrpSpPr>
            <p:cNvPr id="298" name="Gruppe 8"/>
            <p:cNvGrpSpPr/>
            <p:nvPr/>
          </p:nvGrpSpPr>
          <p:grpSpPr>
            <a:xfrm>
              <a:off x="6379377" y="3754876"/>
              <a:ext cx="1246652" cy="741522"/>
              <a:chOff x="6284468" y="3426047"/>
              <a:chExt cx="1246652" cy="741522"/>
            </a:xfrm>
            <a:grpFill/>
          </p:grpSpPr>
          <p:sp>
            <p:nvSpPr>
              <p:cNvPr id="345" name="Friform 9"/>
              <p:cNvSpPr/>
              <p:nvPr/>
            </p:nvSpPr>
            <p:spPr bwMode="auto">
              <a:xfrm>
                <a:off x="6284468" y="3426047"/>
                <a:ext cx="791288" cy="564851"/>
              </a:xfrm>
              <a:custGeom>
                <a:avLst/>
                <a:gdLst>
                  <a:gd name="connsiteX0" fmla="*/ 708025 w 1009650"/>
                  <a:gd name="connsiteY0" fmla="*/ 9525 h 720725"/>
                  <a:gd name="connsiteX1" fmla="*/ 679450 w 1009650"/>
                  <a:gd name="connsiteY1" fmla="*/ 38100 h 720725"/>
                  <a:gd name="connsiteX2" fmla="*/ 695325 w 1009650"/>
                  <a:gd name="connsiteY2" fmla="*/ 98425 h 720725"/>
                  <a:gd name="connsiteX3" fmla="*/ 666750 w 1009650"/>
                  <a:gd name="connsiteY3" fmla="*/ 149225 h 720725"/>
                  <a:gd name="connsiteX4" fmla="*/ 574675 w 1009650"/>
                  <a:gd name="connsiteY4" fmla="*/ 104775 h 720725"/>
                  <a:gd name="connsiteX5" fmla="*/ 539750 w 1009650"/>
                  <a:gd name="connsiteY5" fmla="*/ 73025 h 720725"/>
                  <a:gd name="connsiteX6" fmla="*/ 581025 w 1009650"/>
                  <a:gd name="connsiteY6" fmla="*/ 31750 h 720725"/>
                  <a:gd name="connsiteX7" fmla="*/ 504825 w 1009650"/>
                  <a:gd name="connsiteY7" fmla="*/ 0 h 720725"/>
                  <a:gd name="connsiteX8" fmla="*/ 444500 w 1009650"/>
                  <a:gd name="connsiteY8" fmla="*/ 34925 h 720725"/>
                  <a:gd name="connsiteX9" fmla="*/ 393700 w 1009650"/>
                  <a:gd name="connsiteY9" fmla="*/ 85725 h 720725"/>
                  <a:gd name="connsiteX10" fmla="*/ 346075 w 1009650"/>
                  <a:gd name="connsiteY10" fmla="*/ 111125 h 720725"/>
                  <a:gd name="connsiteX11" fmla="*/ 365125 w 1009650"/>
                  <a:gd name="connsiteY11" fmla="*/ 63500 h 720725"/>
                  <a:gd name="connsiteX12" fmla="*/ 269875 w 1009650"/>
                  <a:gd name="connsiteY12" fmla="*/ 130175 h 720725"/>
                  <a:gd name="connsiteX13" fmla="*/ 234950 w 1009650"/>
                  <a:gd name="connsiteY13" fmla="*/ 184150 h 720725"/>
                  <a:gd name="connsiteX14" fmla="*/ 234950 w 1009650"/>
                  <a:gd name="connsiteY14" fmla="*/ 133350 h 720725"/>
                  <a:gd name="connsiteX15" fmla="*/ 193675 w 1009650"/>
                  <a:gd name="connsiteY15" fmla="*/ 193675 h 720725"/>
                  <a:gd name="connsiteX16" fmla="*/ 104775 w 1009650"/>
                  <a:gd name="connsiteY16" fmla="*/ 241300 h 720725"/>
                  <a:gd name="connsiteX17" fmla="*/ 19050 w 1009650"/>
                  <a:gd name="connsiteY17" fmla="*/ 304800 h 720725"/>
                  <a:gd name="connsiteX18" fmla="*/ 0 w 1009650"/>
                  <a:gd name="connsiteY18" fmla="*/ 377825 h 720725"/>
                  <a:gd name="connsiteX19" fmla="*/ 34925 w 1009650"/>
                  <a:gd name="connsiteY19" fmla="*/ 434975 h 720725"/>
                  <a:gd name="connsiteX20" fmla="*/ 47625 w 1009650"/>
                  <a:gd name="connsiteY20" fmla="*/ 542925 h 720725"/>
                  <a:gd name="connsiteX21" fmla="*/ 98425 w 1009650"/>
                  <a:gd name="connsiteY21" fmla="*/ 574675 h 720725"/>
                  <a:gd name="connsiteX22" fmla="*/ 101600 w 1009650"/>
                  <a:gd name="connsiteY22" fmla="*/ 619125 h 720725"/>
                  <a:gd name="connsiteX23" fmla="*/ 193675 w 1009650"/>
                  <a:gd name="connsiteY23" fmla="*/ 565150 h 720725"/>
                  <a:gd name="connsiteX24" fmla="*/ 266700 w 1009650"/>
                  <a:gd name="connsiteY24" fmla="*/ 581025 h 720725"/>
                  <a:gd name="connsiteX25" fmla="*/ 323850 w 1009650"/>
                  <a:gd name="connsiteY25" fmla="*/ 536575 h 720725"/>
                  <a:gd name="connsiteX26" fmla="*/ 361950 w 1009650"/>
                  <a:gd name="connsiteY26" fmla="*/ 508000 h 720725"/>
                  <a:gd name="connsiteX27" fmla="*/ 466725 w 1009650"/>
                  <a:gd name="connsiteY27" fmla="*/ 511175 h 720725"/>
                  <a:gd name="connsiteX28" fmla="*/ 533400 w 1009650"/>
                  <a:gd name="connsiteY28" fmla="*/ 555625 h 720725"/>
                  <a:gd name="connsiteX29" fmla="*/ 552450 w 1009650"/>
                  <a:gd name="connsiteY29" fmla="*/ 606425 h 720725"/>
                  <a:gd name="connsiteX30" fmla="*/ 609600 w 1009650"/>
                  <a:gd name="connsiteY30" fmla="*/ 546100 h 720725"/>
                  <a:gd name="connsiteX31" fmla="*/ 631825 w 1009650"/>
                  <a:gd name="connsiteY31" fmla="*/ 628650 h 720725"/>
                  <a:gd name="connsiteX32" fmla="*/ 679450 w 1009650"/>
                  <a:gd name="connsiteY32" fmla="*/ 673100 h 720725"/>
                  <a:gd name="connsiteX33" fmla="*/ 781050 w 1009650"/>
                  <a:gd name="connsiteY33" fmla="*/ 717550 h 720725"/>
                  <a:gd name="connsiteX34" fmla="*/ 793750 w 1009650"/>
                  <a:gd name="connsiteY34" fmla="*/ 679450 h 720725"/>
                  <a:gd name="connsiteX35" fmla="*/ 819150 w 1009650"/>
                  <a:gd name="connsiteY35" fmla="*/ 720725 h 720725"/>
                  <a:gd name="connsiteX36" fmla="*/ 860425 w 1009650"/>
                  <a:gd name="connsiteY36" fmla="*/ 673100 h 720725"/>
                  <a:gd name="connsiteX37" fmla="*/ 904875 w 1009650"/>
                  <a:gd name="connsiteY37" fmla="*/ 682625 h 720725"/>
                  <a:gd name="connsiteX38" fmla="*/ 942975 w 1009650"/>
                  <a:gd name="connsiteY38" fmla="*/ 552450 h 720725"/>
                  <a:gd name="connsiteX39" fmla="*/ 993775 w 1009650"/>
                  <a:gd name="connsiteY39" fmla="*/ 517525 h 720725"/>
                  <a:gd name="connsiteX40" fmla="*/ 1009650 w 1009650"/>
                  <a:gd name="connsiteY40" fmla="*/ 412750 h 720725"/>
                  <a:gd name="connsiteX41" fmla="*/ 968375 w 1009650"/>
                  <a:gd name="connsiteY41" fmla="*/ 387350 h 720725"/>
                  <a:gd name="connsiteX42" fmla="*/ 955675 w 1009650"/>
                  <a:gd name="connsiteY42" fmla="*/ 320675 h 720725"/>
                  <a:gd name="connsiteX43" fmla="*/ 873125 w 1009650"/>
                  <a:gd name="connsiteY43" fmla="*/ 273050 h 720725"/>
                  <a:gd name="connsiteX44" fmla="*/ 889000 w 1009650"/>
                  <a:gd name="connsiteY44" fmla="*/ 238125 h 720725"/>
                  <a:gd name="connsiteX45" fmla="*/ 809625 w 1009650"/>
                  <a:gd name="connsiteY45" fmla="*/ 174625 h 720725"/>
                  <a:gd name="connsiteX46" fmla="*/ 800100 w 1009650"/>
                  <a:gd name="connsiteY46" fmla="*/ 111125 h 720725"/>
                  <a:gd name="connsiteX47" fmla="*/ 708025 w 1009650"/>
                  <a:gd name="connsiteY47" fmla="*/ 9525 h 72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009650" h="720725">
                    <a:moveTo>
                      <a:pt x="708025" y="9525"/>
                    </a:moveTo>
                    <a:lnTo>
                      <a:pt x="679450" y="38100"/>
                    </a:lnTo>
                    <a:lnTo>
                      <a:pt x="695325" y="98425"/>
                    </a:lnTo>
                    <a:lnTo>
                      <a:pt x="666750" y="149225"/>
                    </a:lnTo>
                    <a:lnTo>
                      <a:pt x="574675" y="104775"/>
                    </a:lnTo>
                    <a:lnTo>
                      <a:pt x="539750" y="73025"/>
                    </a:lnTo>
                    <a:lnTo>
                      <a:pt x="581025" y="31750"/>
                    </a:lnTo>
                    <a:lnTo>
                      <a:pt x="504825" y="0"/>
                    </a:lnTo>
                    <a:lnTo>
                      <a:pt x="444500" y="34925"/>
                    </a:lnTo>
                    <a:lnTo>
                      <a:pt x="393700" y="85725"/>
                    </a:lnTo>
                    <a:lnTo>
                      <a:pt x="346075" y="111125"/>
                    </a:lnTo>
                    <a:lnTo>
                      <a:pt x="365125" y="63500"/>
                    </a:lnTo>
                    <a:lnTo>
                      <a:pt x="269875" y="130175"/>
                    </a:lnTo>
                    <a:lnTo>
                      <a:pt x="234950" y="184150"/>
                    </a:lnTo>
                    <a:lnTo>
                      <a:pt x="234950" y="133350"/>
                    </a:lnTo>
                    <a:lnTo>
                      <a:pt x="193675" y="193675"/>
                    </a:lnTo>
                    <a:lnTo>
                      <a:pt x="104775" y="241300"/>
                    </a:lnTo>
                    <a:lnTo>
                      <a:pt x="19050" y="304800"/>
                    </a:lnTo>
                    <a:lnTo>
                      <a:pt x="0" y="377825"/>
                    </a:lnTo>
                    <a:lnTo>
                      <a:pt x="34925" y="434975"/>
                    </a:lnTo>
                    <a:lnTo>
                      <a:pt x="47625" y="542925"/>
                    </a:lnTo>
                    <a:lnTo>
                      <a:pt x="98425" y="574675"/>
                    </a:lnTo>
                    <a:lnTo>
                      <a:pt x="101600" y="619125"/>
                    </a:lnTo>
                    <a:lnTo>
                      <a:pt x="193675" y="565150"/>
                    </a:lnTo>
                    <a:lnTo>
                      <a:pt x="266700" y="581025"/>
                    </a:lnTo>
                    <a:lnTo>
                      <a:pt x="323850" y="536575"/>
                    </a:lnTo>
                    <a:lnTo>
                      <a:pt x="361950" y="508000"/>
                    </a:lnTo>
                    <a:lnTo>
                      <a:pt x="466725" y="511175"/>
                    </a:lnTo>
                    <a:lnTo>
                      <a:pt x="533400" y="555625"/>
                    </a:lnTo>
                    <a:lnTo>
                      <a:pt x="552450" y="606425"/>
                    </a:lnTo>
                    <a:lnTo>
                      <a:pt x="609600" y="546100"/>
                    </a:lnTo>
                    <a:lnTo>
                      <a:pt x="631825" y="628650"/>
                    </a:lnTo>
                    <a:lnTo>
                      <a:pt x="679450" y="673100"/>
                    </a:lnTo>
                    <a:lnTo>
                      <a:pt x="781050" y="717550"/>
                    </a:lnTo>
                    <a:lnTo>
                      <a:pt x="793750" y="679450"/>
                    </a:lnTo>
                    <a:lnTo>
                      <a:pt x="819150" y="720725"/>
                    </a:lnTo>
                    <a:lnTo>
                      <a:pt x="860425" y="673100"/>
                    </a:lnTo>
                    <a:lnTo>
                      <a:pt x="904875" y="682625"/>
                    </a:lnTo>
                    <a:lnTo>
                      <a:pt x="942975" y="552450"/>
                    </a:lnTo>
                    <a:lnTo>
                      <a:pt x="993775" y="517525"/>
                    </a:lnTo>
                    <a:lnTo>
                      <a:pt x="1009650" y="412750"/>
                    </a:lnTo>
                    <a:lnTo>
                      <a:pt x="968375" y="387350"/>
                    </a:lnTo>
                    <a:lnTo>
                      <a:pt x="955675" y="320675"/>
                    </a:lnTo>
                    <a:lnTo>
                      <a:pt x="873125" y="273050"/>
                    </a:lnTo>
                    <a:lnTo>
                      <a:pt x="889000" y="238125"/>
                    </a:lnTo>
                    <a:lnTo>
                      <a:pt x="809625" y="174625"/>
                    </a:lnTo>
                    <a:lnTo>
                      <a:pt x="800100" y="111125"/>
                    </a:lnTo>
                    <a:lnTo>
                      <a:pt x="708025" y="9525"/>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46" name="Friform 10"/>
              <p:cNvSpPr/>
              <p:nvPr/>
            </p:nvSpPr>
            <p:spPr bwMode="auto">
              <a:xfrm>
                <a:off x="6871714" y="4020758"/>
                <a:ext cx="82115" cy="89580"/>
              </a:xfrm>
              <a:custGeom>
                <a:avLst/>
                <a:gdLst>
                  <a:gd name="connsiteX0" fmla="*/ 104775 w 104775"/>
                  <a:gd name="connsiteY0" fmla="*/ 15875 h 114300"/>
                  <a:gd name="connsiteX1" fmla="*/ 41275 w 104775"/>
                  <a:gd name="connsiteY1" fmla="*/ 19050 h 114300"/>
                  <a:gd name="connsiteX2" fmla="*/ 9525 w 104775"/>
                  <a:gd name="connsiteY2" fmla="*/ 0 h 114300"/>
                  <a:gd name="connsiteX3" fmla="*/ 0 w 104775"/>
                  <a:gd name="connsiteY3" fmla="*/ 34925 h 114300"/>
                  <a:gd name="connsiteX4" fmla="*/ 31750 w 104775"/>
                  <a:gd name="connsiteY4" fmla="*/ 66675 h 114300"/>
                  <a:gd name="connsiteX5" fmla="*/ 31750 w 104775"/>
                  <a:gd name="connsiteY5" fmla="*/ 66675 h 114300"/>
                  <a:gd name="connsiteX6" fmla="*/ 60325 w 104775"/>
                  <a:gd name="connsiteY6" fmla="*/ 114300 h 114300"/>
                  <a:gd name="connsiteX7" fmla="*/ 95250 w 104775"/>
                  <a:gd name="connsiteY7" fmla="*/ 76200 h 114300"/>
                  <a:gd name="connsiteX8" fmla="*/ 104775 w 104775"/>
                  <a:gd name="connsiteY8" fmla="*/ 15875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775" h="114300">
                    <a:moveTo>
                      <a:pt x="104775" y="15875"/>
                    </a:moveTo>
                    <a:lnTo>
                      <a:pt x="41275" y="19050"/>
                    </a:lnTo>
                    <a:lnTo>
                      <a:pt x="9525" y="0"/>
                    </a:lnTo>
                    <a:lnTo>
                      <a:pt x="0" y="34925"/>
                    </a:lnTo>
                    <a:lnTo>
                      <a:pt x="31750" y="66675"/>
                    </a:lnTo>
                    <a:lnTo>
                      <a:pt x="31750" y="66675"/>
                    </a:lnTo>
                    <a:lnTo>
                      <a:pt x="60325" y="114300"/>
                    </a:lnTo>
                    <a:lnTo>
                      <a:pt x="95250" y="76200"/>
                    </a:lnTo>
                    <a:lnTo>
                      <a:pt x="104775" y="15875"/>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47" name="Friform 11"/>
              <p:cNvSpPr/>
              <p:nvPr/>
            </p:nvSpPr>
            <p:spPr bwMode="auto">
              <a:xfrm>
                <a:off x="7282288" y="4020758"/>
                <a:ext cx="166718" cy="146811"/>
              </a:xfrm>
              <a:custGeom>
                <a:avLst/>
                <a:gdLst>
                  <a:gd name="connsiteX0" fmla="*/ 165100 w 212725"/>
                  <a:gd name="connsiteY0" fmla="*/ 0 h 187325"/>
                  <a:gd name="connsiteX1" fmla="*/ 139700 w 212725"/>
                  <a:gd name="connsiteY1" fmla="*/ 53975 h 187325"/>
                  <a:gd name="connsiteX2" fmla="*/ 76200 w 212725"/>
                  <a:gd name="connsiteY2" fmla="*/ 88900 h 187325"/>
                  <a:gd name="connsiteX3" fmla="*/ 44450 w 212725"/>
                  <a:gd name="connsiteY3" fmla="*/ 130175 h 187325"/>
                  <a:gd name="connsiteX4" fmla="*/ 0 w 212725"/>
                  <a:gd name="connsiteY4" fmla="*/ 165100 h 187325"/>
                  <a:gd name="connsiteX5" fmla="*/ 0 w 212725"/>
                  <a:gd name="connsiteY5" fmla="*/ 165100 h 187325"/>
                  <a:gd name="connsiteX6" fmla="*/ 57150 w 212725"/>
                  <a:gd name="connsiteY6" fmla="*/ 174625 h 187325"/>
                  <a:gd name="connsiteX7" fmla="*/ 98425 w 212725"/>
                  <a:gd name="connsiteY7" fmla="*/ 187325 h 187325"/>
                  <a:gd name="connsiteX8" fmla="*/ 133350 w 212725"/>
                  <a:gd name="connsiteY8" fmla="*/ 123825 h 187325"/>
                  <a:gd name="connsiteX9" fmla="*/ 187325 w 212725"/>
                  <a:gd name="connsiteY9" fmla="*/ 98425 h 187325"/>
                  <a:gd name="connsiteX10" fmla="*/ 180975 w 212725"/>
                  <a:gd name="connsiteY10" fmla="*/ 69850 h 187325"/>
                  <a:gd name="connsiteX11" fmla="*/ 212725 w 212725"/>
                  <a:gd name="connsiteY11" fmla="*/ 41275 h 187325"/>
                  <a:gd name="connsiteX12" fmla="*/ 165100 w 212725"/>
                  <a:gd name="connsiteY12" fmla="*/ 0 h 1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725" h="187325">
                    <a:moveTo>
                      <a:pt x="165100" y="0"/>
                    </a:moveTo>
                    <a:lnTo>
                      <a:pt x="139700" y="53975"/>
                    </a:lnTo>
                    <a:lnTo>
                      <a:pt x="76200" y="88900"/>
                    </a:lnTo>
                    <a:lnTo>
                      <a:pt x="44450" y="130175"/>
                    </a:lnTo>
                    <a:lnTo>
                      <a:pt x="0" y="165100"/>
                    </a:lnTo>
                    <a:lnTo>
                      <a:pt x="0" y="165100"/>
                    </a:lnTo>
                    <a:lnTo>
                      <a:pt x="57150" y="174625"/>
                    </a:lnTo>
                    <a:lnTo>
                      <a:pt x="98425" y="187325"/>
                    </a:lnTo>
                    <a:lnTo>
                      <a:pt x="133350" y="123825"/>
                    </a:lnTo>
                    <a:lnTo>
                      <a:pt x="187325" y="98425"/>
                    </a:lnTo>
                    <a:lnTo>
                      <a:pt x="180975" y="69850"/>
                    </a:lnTo>
                    <a:lnTo>
                      <a:pt x="212725" y="41275"/>
                    </a:lnTo>
                    <a:lnTo>
                      <a:pt x="16510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48" name="Friform 12"/>
              <p:cNvSpPr/>
              <p:nvPr/>
            </p:nvSpPr>
            <p:spPr bwMode="auto">
              <a:xfrm>
                <a:off x="7414169" y="3898830"/>
                <a:ext cx="116951" cy="159253"/>
              </a:xfrm>
              <a:custGeom>
                <a:avLst/>
                <a:gdLst>
                  <a:gd name="connsiteX0" fmla="*/ 25400 w 149225"/>
                  <a:gd name="connsiteY0" fmla="*/ 0 h 203200"/>
                  <a:gd name="connsiteX1" fmla="*/ 50800 w 149225"/>
                  <a:gd name="connsiteY1" fmla="*/ 76200 h 203200"/>
                  <a:gd name="connsiteX2" fmla="*/ 31750 w 149225"/>
                  <a:gd name="connsiteY2" fmla="*/ 98425 h 203200"/>
                  <a:gd name="connsiteX3" fmla="*/ 0 w 149225"/>
                  <a:gd name="connsiteY3" fmla="*/ 114300 h 203200"/>
                  <a:gd name="connsiteX4" fmla="*/ 50800 w 149225"/>
                  <a:gd name="connsiteY4" fmla="*/ 130175 h 203200"/>
                  <a:gd name="connsiteX5" fmla="*/ 57150 w 149225"/>
                  <a:gd name="connsiteY5" fmla="*/ 168275 h 203200"/>
                  <a:gd name="connsiteX6" fmla="*/ 57150 w 149225"/>
                  <a:gd name="connsiteY6" fmla="*/ 168275 h 203200"/>
                  <a:gd name="connsiteX7" fmla="*/ 69850 w 149225"/>
                  <a:gd name="connsiteY7" fmla="*/ 203200 h 203200"/>
                  <a:gd name="connsiteX8" fmla="*/ 95250 w 149225"/>
                  <a:gd name="connsiteY8" fmla="*/ 161925 h 203200"/>
                  <a:gd name="connsiteX9" fmla="*/ 101600 w 149225"/>
                  <a:gd name="connsiteY9" fmla="*/ 120650 h 203200"/>
                  <a:gd name="connsiteX10" fmla="*/ 139700 w 149225"/>
                  <a:gd name="connsiteY10" fmla="*/ 101600 h 203200"/>
                  <a:gd name="connsiteX11" fmla="*/ 149225 w 149225"/>
                  <a:gd name="connsiteY11" fmla="*/ 69850 h 203200"/>
                  <a:gd name="connsiteX12" fmla="*/ 101600 w 149225"/>
                  <a:gd name="connsiteY12" fmla="*/ 92075 h 203200"/>
                  <a:gd name="connsiteX13" fmla="*/ 76200 w 149225"/>
                  <a:gd name="connsiteY13" fmla="*/ 60325 h 203200"/>
                  <a:gd name="connsiteX14" fmla="*/ 25400 w 149225"/>
                  <a:gd name="connsiteY14" fmla="*/ 0 h 2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9225" h="203200">
                    <a:moveTo>
                      <a:pt x="25400" y="0"/>
                    </a:moveTo>
                    <a:lnTo>
                      <a:pt x="50800" y="76200"/>
                    </a:lnTo>
                    <a:lnTo>
                      <a:pt x="31750" y="98425"/>
                    </a:lnTo>
                    <a:lnTo>
                      <a:pt x="0" y="114300"/>
                    </a:lnTo>
                    <a:lnTo>
                      <a:pt x="50800" y="130175"/>
                    </a:lnTo>
                    <a:lnTo>
                      <a:pt x="57150" y="168275"/>
                    </a:lnTo>
                    <a:lnTo>
                      <a:pt x="57150" y="168275"/>
                    </a:lnTo>
                    <a:lnTo>
                      <a:pt x="69850" y="203200"/>
                    </a:lnTo>
                    <a:lnTo>
                      <a:pt x="95250" y="161925"/>
                    </a:lnTo>
                    <a:lnTo>
                      <a:pt x="101600" y="120650"/>
                    </a:lnTo>
                    <a:lnTo>
                      <a:pt x="139700" y="101600"/>
                    </a:lnTo>
                    <a:lnTo>
                      <a:pt x="149225" y="69850"/>
                    </a:lnTo>
                    <a:lnTo>
                      <a:pt x="101600" y="92075"/>
                    </a:lnTo>
                    <a:lnTo>
                      <a:pt x="76200" y="60325"/>
                    </a:lnTo>
                    <a:lnTo>
                      <a:pt x="2540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grpSp>
        <p:grpSp>
          <p:nvGrpSpPr>
            <p:cNvPr id="299" name="Gruppe 13"/>
            <p:cNvGrpSpPr/>
            <p:nvPr/>
          </p:nvGrpSpPr>
          <p:grpSpPr>
            <a:xfrm>
              <a:off x="3910733" y="2803221"/>
              <a:ext cx="1301358" cy="1433277"/>
              <a:chOff x="3815824" y="2474392"/>
              <a:chExt cx="1301358" cy="1433277"/>
            </a:xfrm>
            <a:grpFill/>
          </p:grpSpPr>
          <p:sp>
            <p:nvSpPr>
              <p:cNvPr id="343" name="Friform 14"/>
              <p:cNvSpPr/>
              <p:nvPr/>
            </p:nvSpPr>
            <p:spPr bwMode="auto">
              <a:xfrm>
                <a:off x="3815824" y="2474392"/>
                <a:ext cx="1301358" cy="1433277"/>
              </a:xfrm>
              <a:custGeom>
                <a:avLst/>
                <a:gdLst>
                  <a:gd name="connsiteX0" fmla="*/ 1041779 w 1660477"/>
                  <a:gd name="connsiteY0" fmla="*/ 168323 h 1828800"/>
                  <a:gd name="connsiteX1" fmla="*/ 968991 w 1660477"/>
                  <a:gd name="connsiteY1" fmla="*/ 136478 h 1828800"/>
                  <a:gd name="connsiteX2" fmla="*/ 896203 w 1660477"/>
                  <a:gd name="connsiteY2" fmla="*/ 136478 h 1828800"/>
                  <a:gd name="connsiteX3" fmla="*/ 896203 w 1660477"/>
                  <a:gd name="connsiteY3" fmla="*/ 186520 h 1828800"/>
                  <a:gd name="connsiteX4" fmla="*/ 868907 w 1660477"/>
                  <a:gd name="connsiteY4" fmla="*/ 200168 h 1828800"/>
                  <a:gd name="connsiteX5" fmla="*/ 832513 w 1660477"/>
                  <a:gd name="connsiteY5" fmla="*/ 186520 h 1828800"/>
                  <a:gd name="connsiteX6" fmla="*/ 773373 w 1660477"/>
                  <a:gd name="connsiteY6" fmla="*/ 131929 h 1828800"/>
                  <a:gd name="connsiteX7" fmla="*/ 655092 w 1660477"/>
                  <a:gd name="connsiteY7" fmla="*/ 95535 h 1828800"/>
                  <a:gd name="connsiteX8" fmla="*/ 700585 w 1660477"/>
                  <a:gd name="connsiteY8" fmla="*/ 63690 h 1828800"/>
                  <a:gd name="connsiteX9" fmla="*/ 682388 w 1660477"/>
                  <a:gd name="connsiteY9" fmla="*/ 9099 h 1828800"/>
                  <a:gd name="connsiteX10" fmla="*/ 655092 w 1660477"/>
                  <a:gd name="connsiteY10" fmla="*/ 0 h 1828800"/>
                  <a:gd name="connsiteX11" fmla="*/ 618698 w 1660477"/>
                  <a:gd name="connsiteY11" fmla="*/ 22747 h 1828800"/>
                  <a:gd name="connsiteX12" fmla="*/ 514065 w 1660477"/>
                  <a:gd name="connsiteY12" fmla="*/ 27296 h 1828800"/>
                  <a:gd name="connsiteX13" fmla="*/ 432179 w 1660477"/>
                  <a:gd name="connsiteY13" fmla="*/ 36394 h 1828800"/>
                  <a:gd name="connsiteX14" fmla="*/ 350292 w 1660477"/>
                  <a:gd name="connsiteY14" fmla="*/ 77338 h 1828800"/>
                  <a:gd name="connsiteX15" fmla="*/ 282053 w 1660477"/>
                  <a:gd name="connsiteY15" fmla="*/ 45493 h 1828800"/>
                  <a:gd name="connsiteX16" fmla="*/ 254758 w 1660477"/>
                  <a:gd name="connsiteY16" fmla="*/ 100084 h 1828800"/>
                  <a:gd name="connsiteX17" fmla="*/ 177421 w 1660477"/>
                  <a:gd name="connsiteY17" fmla="*/ 150126 h 1828800"/>
                  <a:gd name="connsiteX18" fmla="*/ 181970 w 1660477"/>
                  <a:gd name="connsiteY18" fmla="*/ 222914 h 1828800"/>
                  <a:gd name="connsiteX19" fmla="*/ 95534 w 1660477"/>
                  <a:gd name="connsiteY19" fmla="*/ 272956 h 1828800"/>
                  <a:gd name="connsiteX20" fmla="*/ 0 w 1660477"/>
                  <a:gd name="connsiteY20" fmla="*/ 409433 h 1828800"/>
                  <a:gd name="connsiteX21" fmla="*/ 36394 w 1660477"/>
                  <a:gd name="connsiteY21" fmla="*/ 482221 h 1828800"/>
                  <a:gd name="connsiteX22" fmla="*/ 4549 w 1660477"/>
                  <a:gd name="connsiteY22" fmla="*/ 609600 h 1828800"/>
                  <a:gd name="connsiteX23" fmla="*/ 54591 w 1660477"/>
                  <a:gd name="connsiteY23" fmla="*/ 691487 h 1828800"/>
                  <a:gd name="connsiteX24" fmla="*/ 122830 w 1660477"/>
                  <a:gd name="connsiteY24" fmla="*/ 746078 h 1828800"/>
                  <a:gd name="connsiteX25" fmla="*/ 122830 w 1660477"/>
                  <a:gd name="connsiteY25" fmla="*/ 746078 h 1828800"/>
                  <a:gd name="connsiteX26" fmla="*/ 232012 w 1660477"/>
                  <a:gd name="connsiteY26" fmla="*/ 846162 h 1828800"/>
                  <a:gd name="connsiteX27" fmla="*/ 332095 w 1660477"/>
                  <a:gd name="connsiteY27" fmla="*/ 814317 h 1828800"/>
                  <a:gd name="connsiteX28" fmla="*/ 386686 w 1660477"/>
                  <a:gd name="connsiteY28" fmla="*/ 850711 h 1828800"/>
                  <a:gd name="connsiteX29" fmla="*/ 523164 w 1660477"/>
                  <a:gd name="connsiteY29" fmla="*/ 791571 h 1828800"/>
                  <a:gd name="connsiteX30" fmla="*/ 568656 w 1660477"/>
                  <a:gd name="connsiteY30" fmla="*/ 846162 h 1828800"/>
                  <a:gd name="connsiteX31" fmla="*/ 636895 w 1660477"/>
                  <a:gd name="connsiteY31" fmla="*/ 841612 h 1828800"/>
                  <a:gd name="connsiteX32" fmla="*/ 664191 w 1660477"/>
                  <a:gd name="connsiteY32" fmla="*/ 878006 h 1828800"/>
                  <a:gd name="connsiteX33" fmla="*/ 650543 w 1660477"/>
                  <a:gd name="connsiteY33" fmla="*/ 991738 h 1828800"/>
                  <a:gd name="connsiteX34" fmla="*/ 727880 w 1660477"/>
                  <a:gd name="connsiteY34" fmla="*/ 1091821 h 1828800"/>
                  <a:gd name="connsiteX35" fmla="*/ 732430 w 1660477"/>
                  <a:gd name="connsiteY35" fmla="*/ 1164609 h 1828800"/>
                  <a:gd name="connsiteX36" fmla="*/ 759725 w 1660477"/>
                  <a:gd name="connsiteY36" fmla="*/ 1228299 h 1828800"/>
                  <a:gd name="connsiteX37" fmla="*/ 718782 w 1660477"/>
                  <a:gd name="connsiteY37" fmla="*/ 1314735 h 1828800"/>
                  <a:gd name="connsiteX38" fmla="*/ 700585 w 1660477"/>
                  <a:gd name="connsiteY38" fmla="*/ 1405720 h 1828800"/>
                  <a:gd name="connsiteX39" fmla="*/ 777922 w 1660477"/>
                  <a:gd name="connsiteY39" fmla="*/ 1505803 h 1828800"/>
                  <a:gd name="connsiteX40" fmla="*/ 782471 w 1660477"/>
                  <a:gd name="connsiteY40" fmla="*/ 1614985 h 1828800"/>
                  <a:gd name="connsiteX41" fmla="*/ 841612 w 1660477"/>
                  <a:gd name="connsiteY41" fmla="*/ 1692323 h 1828800"/>
                  <a:gd name="connsiteX42" fmla="*/ 891653 w 1660477"/>
                  <a:gd name="connsiteY42" fmla="*/ 1756012 h 1828800"/>
                  <a:gd name="connsiteX43" fmla="*/ 846161 w 1660477"/>
                  <a:gd name="connsiteY43" fmla="*/ 1787857 h 1828800"/>
                  <a:gd name="connsiteX44" fmla="*/ 887104 w 1660477"/>
                  <a:gd name="connsiteY44" fmla="*/ 1828800 h 1828800"/>
                  <a:gd name="connsiteX45" fmla="*/ 987188 w 1660477"/>
                  <a:gd name="connsiteY45" fmla="*/ 1787857 h 1828800"/>
                  <a:gd name="connsiteX46" fmla="*/ 1050877 w 1660477"/>
                  <a:gd name="connsiteY46" fmla="*/ 1810603 h 1828800"/>
                  <a:gd name="connsiteX47" fmla="*/ 1160059 w 1660477"/>
                  <a:gd name="connsiteY47" fmla="*/ 1701421 h 1828800"/>
                  <a:gd name="connsiteX48" fmla="*/ 1214650 w 1660477"/>
                  <a:gd name="connsiteY48" fmla="*/ 1660478 h 1828800"/>
                  <a:gd name="connsiteX49" fmla="*/ 1210101 w 1660477"/>
                  <a:gd name="connsiteY49" fmla="*/ 1569493 h 1828800"/>
                  <a:gd name="connsiteX50" fmla="*/ 1278340 w 1660477"/>
                  <a:gd name="connsiteY50" fmla="*/ 1546747 h 1828800"/>
                  <a:gd name="connsiteX51" fmla="*/ 1282889 w 1660477"/>
                  <a:gd name="connsiteY51" fmla="*/ 1483057 h 1828800"/>
                  <a:gd name="connsiteX52" fmla="*/ 1255594 w 1660477"/>
                  <a:gd name="connsiteY52" fmla="*/ 1433015 h 1828800"/>
                  <a:gd name="connsiteX53" fmla="*/ 1332931 w 1660477"/>
                  <a:gd name="connsiteY53" fmla="*/ 1364776 h 1828800"/>
                  <a:gd name="connsiteX54" fmla="*/ 1401170 w 1660477"/>
                  <a:gd name="connsiteY54" fmla="*/ 1323833 h 1828800"/>
                  <a:gd name="connsiteX55" fmla="*/ 1405719 w 1660477"/>
                  <a:gd name="connsiteY55" fmla="*/ 1205553 h 1828800"/>
                  <a:gd name="connsiteX56" fmla="*/ 1373874 w 1660477"/>
                  <a:gd name="connsiteY56" fmla="*/ 1137314 h 1828800"/>
                  <a:gd name="connsiteX57" fmla="*/ 1364776 w 1660477"/>
                  <a:gd name="connsiteY57" fmla="*/ 1055427 h 1828800"/>
                  <a:gd name="connsiteX58" fmla="*/ 1473958 w 1660477"/>
                  <a:gd name="connsiteY58" fmla="*/ 923499 h 1828800"/>
                  <a:gd name="connsiteX59" fmla="*/ 1605886 w 1660477"/>
                  <a:gd name="connsiteY59" fmla="*/ 805218 h 1828800"/>
                  <a:gd name="connsiteX60" fmla="*/ 1660477 w 1660477"/>
                  <a:gd name="connsiteY60" fmla="*/ 673290 h 1828800"/>
                  <a:gd name="connsiteX61" fmla="*/ 1524000 w 1660477"/>
                  <a:gd name="connsiteY61" fmla="*/ 705135 h 1828800"/>
                  <a:gd name="connsiteX62" fmla="*/ 1433015 w 1660477"/>
                  <a:gd name="connsiteY62" fmla="*/ 650544 h 1828800"/>
                  <a:gd name="connsiteX63" fmla="*/ 1460310 w 1660477"/>
                  <a:gd name="connsiteY63" fmla="*/ 627797 h 1828800"/>
                  <a:gd name="connsiteX64" fmla="*/ 1360227 w 1660477"/>
                  <a:gd name="connsiteY64" fmla="*/ 550460 h 1828800"/>
                  <a:gd name="connsiteX65" fmla="*/ 1323833 w 1660477"/>
                  <a:gd name="connsiteY65" fmla="*/ 477672 h 1828800"/>
                  <a:gd name="connsiteX66" fmla="*/ 1310185 w 1660477"/>
                  <a:gd name="connsiteY66" fmla="*/ 409433 h 1828800"/>
                  <a:gd name="connsiteX67" fmla="*/ 1264692 w 1660477"/>
                  <a:gd name="connsiteY67" fmla="*/ 354842 h 1828800"/>
                  <a:gd name="connsiteX68" fmla="*/ 1210101 w 1660477"/>
                  <a:gd name="connsiteY68" fmla="*/ 236562 h 1828800"/>
                  <a:gd name="connsiteX69" fmla="*/ 1246495 w 1660477"/>
                  <a:gd name="connsiteY69" fmla="*/ 254759 h 1828800"/>
                  <a:gd name="connsiteX70" fmla="*/ 1260143 w 1660477"/>
                  <a:gd name="connsiteY70" fmla="*/ 209266 h 1828800"/>
                  <a:gd name="connsiteX71" fmla="*/ 1232847 w 1660477"/>
                  <a:gd name="connsiteY71" fmla="*/ 181971 h 1828800"/>
                  <a:gd name="connsiteX72" fmla="*/ 1173707 w 1660477"/>
                  <a:gd name="connsiteY72" fmla="*/ 159224 h 1828800"/>
                  <a:gd name="connsiteX73" fmla="*/ 1137313 w 1660477"/>
                  <a:gd name="connsiteY73" fmla="*/ 191069 h 1828800"/>
                  <a:gd name="connsiteX74" fmla="*/ 1041779 w 1660477"/>
                  <a:gd name="connsiteY74" fmla="*/ 168323 h 182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1660477" h="1828800">
                    <a:moveTo>
                      <a:pt x="1041779" y="168323"/>
                    </a:moveTo>
                    <a:lnTo>
                      <a:pt x="968991" y="136478"/>
                    </a:lnTo>
                    <a:lnTo>
                      <a:pt x="896203" y="136478"/>
                    </a:lnTo>
                    <a:lnTo>
                      <a:pt x="896203" y="186520"/>
                    </a:lnTo>
                    <a:lnTo>
                      <a:pt x="868907" y="200168"/>
                    </a:lnTo>
                    <a:lnTo>
                      <a:pt x="832513" y="186520"/>
                    </a:lnTo>
                    <a:lnTo>
                      <a:pt x="773373" y="131929"/>
                    </a:lnTo>
                    <a:lnTo>
                      <a:pt x="655092" y="95535"/>
                    </a:lnTo>
                    <a:lnTo>
                      <a:pt x="700585" y="63690"/>
                    </a:lnTo>
                    <a:lnTo>
                      <a:pt x="682388" y="9099"/>
                    </a:lnTo>
                    <a:lnTo>
                      <a:pt x="655092" y="0"/>
                    </a:lnTo>
                    <a:lnTo>
                      <a:pt x="618698" y="22747"/>
                    </a:lnTo>
                    <a:lnTo>
                      <a:pt x="514065" y="27296"/>
                    </a:lnTo>
                    <a:lnTo>
                      <a:pt x="432179" y="36394"/>
                    </a:lnTo>
                    <a:lnTo>
                      <a:pt x="350292" y="77338"/>
                    </a:lnTo>
                    <a:lnTo>
                      <a:pt x="282053" y="45493"/>
                    </a:lnTo>
                    <a:lnTo>
                      <a:pt x="254758" y="100084"/>
                    </a:lnTo>
                    <a:lnTo>
                      <a:pt x="177421" y="150126"/>
                    </a:lnTo>
                    <a:lnTo>
                      <a:pt x="181970" y="222914"/>
                    </a:lnTo>
                    <a:lnTo>
                      <a:pt x="95534" y="272956"/>
                    </a:lnTo>
                    <a:lnTo>
                      <a:pt x="0" y="409433"/>
                    </a:lnTo>
                    <a:lnTo>
                      <a:pt x="36394" y="482221"/>
                    </a:lnTo>
                    <a:lnTo>
                      <a:pt x="4549" y="609600"/>
                    </a:lnTo>
                    <a:lnTo>
                      <a:pt x="54591" y="691487"/>
                    </a:lnTo>
                    <a:lnTo>
                      <a:pt x="122830" y="746078"/>
                    </a:lnTo>
                    <a:lnTo>
                      <a:pt x="122830" y="746078"/>
                    </a:lnTo>
                    <a:lnTo>
                      <a:pt x="232012" y="846162"/>
                    </a:lnTo>
                    <a:lnTo>
                      <a:pt x="332095" y="814317"/>
                    </a:lnTo>
                    <a:lnTo>
                      <a:pt x="386686" y="850711"/>
                    </a:lnTo>
                    <a:lnTo>
                      <a:pt x="523164" y="791571"/>
                    </a:lnTo>
                    <a:lnTo>
                      <a:pt x="568656" y="846162"/>
                    </a:lnTo>
                    <a:lnTo>
                      <a:pt x="636895" y="841612"/>
                    </a:lnTo>
                    <a:lnTo>
                      <a:pt x="664191" y="878006"/>
                    </a:lnTo>
                    <a:lnTo>
                      <a:pt x="650543" y="991738"/>
                    </a:lnTo>
                    <a:lnTo>
                      <a:pt x="727880" y="1091821"/>
                    </a:lnTo>
                    <a:lnTo>
                      <a:pt x="732430" y="1164609"/>
                    </a:lnTo>
                    <a:lnTo>
                      <a:pt x="759725" y="1228299"/>
                    </a:lnTo>
                    <a:lnTo>
                      <a:pt x="718782" y="1314735"/>
                    </a:lnTo>
                    <a:lnTo>
                      <a:pt x="700585" y="1405720"/>
                    </a:lnTo>
                    <a:lnTo>
                      <a:pt x="777922" y="1505803"/>
                    </a:lnTo>
                    <a:lnTo>
                      <a:pt x="782471" y="1614985"/>
                    </a:lnTo>
                    <a:lnTo>
                      <a:pt x="841612" y="1692323"/>
                    </a:lnTo>
                    <a:lnTo>
                      <a:pt x="891653" y="1756012"/>
                    </a:lnTo>
                    <a:lnTo>
                      <a:pt x="846161" y="1787857"/>
                    </a:lnTo>
                    <a:lnTo>
                      <a:pt x="887104" y="1828800"/>
                    </a:lnTo>
                    <a:lnTo>
                      <a:pt x="987188" y="1787857"/>
                    </a:lnTo>
                    <a:lnTo>
                      <a:pt x="1050877" y="1810603"/>
                    </a:lnTo>
                    <a:lnTo>
                      <a:pt x="1160059" y="1701421"/>
                    </a:lnTo>
                    <a:lnTo>
                      <a:pt x="1214650" y="1660478"/>
                    </a:lnTo>
                    <a:lnTo>
                      <a:pt x="1210101" y="1569493"/>
                    </a:lnTo>
                    <a:lnTo>
                      <a:pt x="1278340" y="1546747"/>
                    </a:lnTo>
                    <a:lnTo>
                      <a:pt x="1282889" y="1483057"/>
                    </a:lnTo>
                    <a:lnTo>
                      <a:pt x="1255594" y="1433015"/>
                    </a:lnTo>
                    <a:lnTo>
                      <a:pt x="1332931" y="1364776"/>
                    </a:lnTo>
                    <a:lnTo>
                      <a:pt x="1401170" y="1323833"/>
                    </a:lnTo>
                    <a:lnTo>
                      <a:pt x="1405719" y="1205553"/>
                    </a:lnTo>
                    <a:lnTo>
                      <a:pt x="1373874" y="1137314"/>
                    </a:lnTo>
                    <a:lnTo>
                      <a:pt x="1364776" y="1055427"/>
                    </a:lnTo>
                    <a:lnTo>
                      <a:pt x="1473958" y="923499"/>
                    </a:lnTo>
                    <a:lnTo>
                      <a:pt x="1605886" y="805218"/>
                    </a:lnTo>
                    <a:lnTo>
                      <a:pt x="1660477" y="673290"/>
                    </a:lnTo>
                    <a:lnTo>
                      <a:pt x="1524000" y="705135"/>
                    </a:lnTo>
                    <a:lnTo>
                      <a:pt x="1433015" y="650544"/>
                    </a:lnTo>
                    <a:lnTo>
                      <a:pt x="1460310" y="627797"/>
                    </a:lnTo>
                    <a:lnTo>
                      <a:pt x="1360227" y="550460"/>
                    </a:lnTo>
                    <a:lnTo>
                      <a:pt x="1323833" y="477672"/>
                    </a:lnTo>
                    <a:lnTo>
                      <a:pt x="1310185" y="409433"/>
                    </a:lnTo>
                    <a:lnTo>
                      <a:pt x="1264692" y="354842"/>
                    </a:lnTo>
                    <a:lnTo>
                      <a:pt x="1210101" y="236562"/>
                    </a:lnTo>
                    <a:lnTo>
                      <a:pt x="1246495" y="254759"/>
                    </a:lnTo>
                    <a:lnTo>
                      <a:pt x="1260143" y="209266"/>
                    </a:lnTo>
                    <a:lnTo>
                      <a:pt x="1232847" y="181971"/>
                    </a:lnTo>
                    <a:lnTo>
                      <a:pt x="1173707" y="159224"/>
                    </a:lnTo>
                    <a:lnTo>
                      <a:pt x="1137313" y="191069"/>
                    </a:lnTo>
                    <a:lnTo>
                      <a:pt x="1041779" y="168323"/>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44" name="Friform 15"/>
              <p:cNvSpPr/>
              <p:nvPr/>
            </p:nvSpPr>
            <p:spPr bwMode="auto">
              <a:xfrm>
                <a:off x="4960678" y="3450931"/>
                <a:ext cx="146811" cy="268739"/>
              </a:xfrm>
              <a:custGeom>
                <a:avLst/>
                <a:gdLst>
                  <a:gd name="connsiteX0" fmla="*/ 146050 w 187325"/>
                  <a:gd name="connsiteY0" fmla="*/ 0 h 342900"/>
                  <a:gd name="connsiteX1" fmla="*/ 111125 w 187325"/>
                  <a:gd name="connsiteY1" fmla="*/ 57150 h 342900"/>
                  <a:gd name="connsiteX2" fmla="*/ 38100 w 187325"/>
                  <a:gd name="connsiteY2" fmla="*/ 95250 h 342900"/>
                  <a:gd name="connsiteX3" fmla="*/ 6350 w 187325"/>
                  <a:gd name="connsiteY3" fmla="*/ 139700 h 342900"/>
                  <a:gd name="connsiteX4" fmla="*/ 28575 w 187325"/>
                  <a:gd name="connsiteY4" fmla="*/ 206375 h 342900"/>
                  <a:gd name="connsiteX5" fmla="*/ 0 w 187325"/>
                  <a:gd name="connsiteY5" fmla="*/ 250825 h 342900"/>
                  <a:gd name="connsiteX6" fmla="*/ 15875 w 187325"/>
                  <a:gd name="connsiteY6" fmla="*/ 314325 h 342900"/>
                  <a:gd name="connsiteX7" fmla="*/ 57150 w 187325"/>
                  <a:gd name="connsiteY7" fmla="*/ 342900 h 342900"/>
                  <a:gd name="connsiteX8" fmla="*/ 107950 w 187325"/>
                  <a:gd name="connsiteY8" fmla="*/ 295275 h 342900"/>
                  <a:gd name="connsiteX9" fmla="*/ 146050 w 187325"/>
                  <a:gd name="connsiteY9" fmla="*/ 158750 h 342900"/>
                  <a:gd name="connsiteX10" fmla="*/ 155575 w 187325"/>
                  <a:gd name="connsiteY10" fmla="*/ 73025 h 342900"/>
                  <a:gd name="connsiteX11" fmla="*/ 187325 w 187325"/>
                  <a:gd name="connsiteY11" fmla="*/ 95250 h 342900"/>
                  <a:gd name="connsiteX12" fmla="*/ 187325 w 187325"/>
                  <a:gd name="connsiteY12" fmla="*/ 53975 h 342900"/>
                  <a:gd name="connsiteX13" fmla="*/ 146050 w 187325"/>
                  <a:gd name="connsiteY13" fmla="*/ 0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7325" h="342900">
                    <a:moveTo>
                      <a:pt x="146050" y="0"/>
                    </a:moveTo>
                    <a:lnTo>
                      <a:pt x="111125" y="57150"/>
                    </a:lnTo>
                    <a:lnTo>
                      <a:pt x="38100" y="95250"/>
                    </a:lnTo>
                    <a:lnTo>
                      <a:pt x="6350" y="139700"/>
                    </a:lnTo>
                    <a:lnTo>
                      <a:pt x="28575" y="206375"/>
                    </a:lnTo>
                    <a:lnTo>
                      <a:pt x="0" y="250825"/>
                    </a:lnTo>
                    <a:lnTo>
                      <a:pt x="15875" y="314325"/>
                    </a:lnTo>
                    <a:lnTo>
                      <a:pt x="57150" y="342900"/>
                    </a:lnTo>
                    <a:lnTo>
                      <a:pt x="107950" y="295275"/>
                    </a:lnTo>
                    <a:lnTo>
                      <a:pt x="146050" y="158750"/>
                    </a:lnTo>
                    <a:lnTo>
                      <a:pt x="155575" y="73025"/>
                    </a:lnTo>
                    <a:lnTo>
                      <a:pt x="187325" y="95250"/>
                    </a:lnTo>
                    <a:lnTo>
                      <a:pt x="187325" y="53975"/>
                    </a:lnTo>
                    <a:lnTo>
                      <a:pt x="14605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grpSp>
        <p:grpSp>
          <p:nvGrpSpPr>
            <p:cNvPr id="300" name="Gruppe 16"/>
            <p:cNvGrpSpPr/>
            <p:nvPr/>
          </p:nvGrpSpPr>
          <p:grpSpPr>
            <a:xfrm>
              <a:off x="3805583" y="1540264"/>
              <a:ext cx="1078308" cy="1298908"/>
              <a:chOff x="3710674" y="1211435"/>
              <a:chExt cx="1078308" cy="1298908"/>
            </a:xfrm>
            <a:grpFill/>
          </p:grpSpPr>
          <p:sp>
            <p:nvSpPr>
              <p:cNvPr id="335" name="Friform 17"/>
              <p:cNvSpPr/>
              <p:nvPr/>
            </p:nvSpPr>
            <p:spPr bwMode="auto">
              <a:xfrm>
                <a:off x="4338595" y="1226365"/>
                <a:ext cx="124416" cy="67185"/>
              </a:xfrm>
              <a:custGeom>
                <a:avLst/>
                <a:gdLst>
                  <a:gd name="connsiteX0" fmla="*/ 158750 w 158750"/>
                  <a:gd name="connsiteY0" fmla="*/ 60325 h 85725"/>
                  <a:gd name="connsiteX1" fmla="*/ 130175 w 158750"/>
                  <a:gd name="connsiteY1" fmla="*/ 41275 h 85725"/>
                  <a:gd name="connsiteX2" fmla="*/ 120650 w 158750"/>
                  <a:gd name="connsiteY2" fmla="*/ 6350 h 85725"/>
                  <a:gd name="connsiteX3" fmla="*/ 120650 w 158750"/>
                  <a:gd name="connsiteY3" fmla="*/ 6350 h 85725"/>
                  <a:gd name="connsiteX4" fmla="*/ 92075 w 158750"/>
                  <a:gd name="connsiteY4" fmla="*/ 38100 h 85725"/>
                  <a:gd name="connsiteX5" fmla="*/ 60325 w 158750"/>
                  <a:gd name="connsiteY5" fmla="*/ 25400 h 85725"/>
                  <a:gd name="connsiteX6" fmla="*/ 82550 w 158750"/>
                  <a:gd name="connsiteY6" fmla="*/ 3175 h 85725"/>
                  <a:gd name="connsiteX7" fmla="*/ 25400 w 158750"/>
                  <a:gd name="connsiteY7" fmla="*/ 0 h 85725"/>
                  <a:gd name="connsiteX8" fmla="*/ 0 w 158750"/>
                  <a:gd name="connsiteY8" fmla="*/ 34925 h 85725"/>
                  <a:gd name="connsiteX9" fmla="*/ 31750 w 158750"/>
                  <a:gd name="connsiteY9" fmla="*/ 53975 h 85725"/>
                  <a:gd name="connsiteX10" fmla="*/ 66675 w 158750"/>
                  <a:gd name="connsiteY10" fmla="*/ 69850 h 85725"/>
                  <a:gd name="connsiteX11" fmla="*/ 41275 w 158750"/>
                  <a:gd name="connsiteY11" fmla="*/ 85725 h 85725"/>
                  <a:gd name="connsiteX12" fmla="*/ 82550 w 158750"/>
                  <a:gd name="connsiteY12" fmla="*/ 85725 h 85725"/>
                  <a:gd name="connsiteX13" fmla="*/ 158750 w 158750"/>
                  <a:gd name="connsiteY13" fmla="*/ 603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8750" h="85725">
                    <a:moveTo>
                      <a:pt x="158750" y="60325"/>
                    </a:moveTo>
                    <a:lnTo>
                      <a:pt x="130175" y="41275"/>
                    </a:lnTo>
                    <a:lnTo>
                      <a:pt x="120650" y="6350"/>
                    </a:lnTo>
                    <a:lnTo>
                      <a:pt x="120650" y="6350"/>
                    </a:lnTo>
                    <a:lnTo>
                      <a:pt x="92075" y="38100"/>
                    </a:lnTo>
                    <a:lnTo>
                      <a:pt x="60325" y="25400"/>
                    </a:lnTo>
                    <a:lnTo>
                      <a:pt x="82550" y="3175"/>
                    </a:lnTo>
                    <a:lnTo>
                      <a:pt x="25400" y="0"/>
                    </a:lnTo>
                    <a:lnTo>
                      <a:pt x="0" y="34925"/>
                    </a:lnTo>
                    <a:lnTo>
                      <a:pt x="31750" y="53975"/>
                    </a:lnTo>
                    <a:lnTo>
                      <a:pt x="66675" y="69850"/>
                    </a:lnTo>
                    <a:lnTo>
                      <a:pt x="41275" y="85725"/>
                    </a:lnTo>
                    <a:lnTo>
                      <a:pt x="82550" y="85725"/>
                    </a:lnTo>
                    <a:lnTo>
                      <a:pt x="158750" y="60325"/>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6" name="Friform 18"/>
              <p:cNvSpPr/>
              <p:nvPr/>
            </p:nvSpPr>
            <p:spPr bwMode="auto">
              <a:xfrm>
                <a:off x="4390850" y="1211435"/>
                <a:ext cx="159253" cy="151788"/>
              </a:xfrm>
              <a:custGeom>
                <a:avLst/>
                <a:gdLst>
                  <a:gd name="connsiteX0" fmla="*/ 63500 w 203200"/>
                  <a:gd name="connsiteY0" fmla="*/ 0 h 193675"/>
                  <a:gd name="connsiteX1" fmla="*/ 73025 w 203200"/>
                  <a:gd name="connsiteY1" fmla="*/ 69850 h 193675"/>
                  <a:gd name="connsiteX2" fmla="*/ 34925 w 203200"/>
                  <a:gd name="connsiteY2" fmla="*/ 92075 h 193675"/>
                  <a:gd name="connsiteX3" fmla="*/ 85725 w 203200"/>
                  <a:gd name="connsiteY3" fmla="*/ 104775 h 193675"/>
                  <a:gd name="connsiteX4" fmla="*/ 28575 w 203200"/>
                  <a:gd name="connsiteY4" fmla="*/ 123825 h 193675"/>
                  <a:gd name="connsiteX5" fmla="*/ 0 w 203200"/>
                  <a:gd name="connsiteY5" fmla="*/ 127000 h 193675"/>
                  <a:gd name="connsiteX6" fmla="*/ 6350 w 203200"/>
                  <a:gd name="connsiteY6" fmla="*/ 146050 h 193675"/>
                  <a:gd name="connsiteX7" fmla="*/ 98425 w 203200"/>
                  <a:gd name="connsiteY7" fmla="*/ 123825 h 193675"/>
                  <a:gd name="connsiteX8" fmla="*/ 25400 w 203200"/>
                  <a:gd name="connsiteY8" fmla="*/ 155575 h 193675"/>
                  <a:gd name="connsiteX9" fmla="*/ 25400 w 203200"/>
                  <a:gd name="connsiteY9" fmla="*/ 155575 h 193675"/>
                  <a:gd name="connsiteX10" fmla="*/ 60325 w 203200"/>
                  <a:gd name="connsiteY10" fmla="*/ 174625 h 193675"/>
                  <a:gd name="connsiteX11" fmla="*/ 82550 w 203200"/>
                  <a:gd name="connsiteY11" fmla="*/ 193675 h 193675"/>
                  <a:gd name="connsiteX12" fmla="*/ 104775 w 203200"/>
                  <a:gd name="connsiteY12" fmla="*/ 149225 h 193675"/>
                  <a:gd name="connsiteX13" fmla="*/ 146050 w 203200"/>
                  <a:gd name="connsiteY13" fmla="*/ 123825 h 193675"/>
                  <a:gd name="connsiteX14" fmla="*/ 139700 w 203200"/>
                  <a:gd name="connsiteY14" fmla="*/ 98425 h 193675"/>
                  <a:gd name="connsiteX15" fmla="*/ 203200 w 203200"/>
                  <a:gd name="connsiteY15" fmla="*/ 85725 h 193675"/>
                  <a:gd name="connsiteX16" fmla="*/ 161925 w 203200"/>
                  <a:gd name="connsiteY16" fmla="*/ 66675 h 193675"/>
                  <a:gd name="connsiteX17" fmla="*/ 161925 w 203200"/>
                  <a:gd name="connsiteY17" fmla="*/ 66675 h 193675"/>
                  <a:gd name="connsiteX18" fmla="*/ 146050 w 203200"/>
                  <a:gd name="connsiteY18" fmla="*/ 44450 h 193675"/>
                  <a:gd name="connsiteX19" fmla="*/ 146050 w 203200"/>
                  <a:gd name="connsiteY19" fmla="*/ 44450 h 193675"/>
                  <a:gd name="connsiteX20" fmla="*/ 114300 w 203200"/>
                  <a:gd name="connsiteY20" fmla="*/ 73025 h 193675"/>
                  <a:gd name="connsiteX21" fmla="*/ 111125 w 203200"/>
                  <a:gd name="connsiteY21" fmla="*/ 31750 h 193675"/>
                  <a:gd name="connsiteX22" fmla="*/ 63500 w 203200"/>
                  <a:gd name="connsiteY22" fmla="*/ 0 h 19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3200" h="193675">
                    <a:moveTo>
                      <a:pt x="63500" y="0"/>
                    </a:moveTo>
                    <a:lnTo>
                      <a:pt x="73025" y="69850"/>
                    </a:lnTo>
                    <a:lnTo>
                      <a:pt x="34925" y="92075"/>
                    </a:lnTo>
                    <a:lnTo>
                      <a:pt x="85725" y="104775"/>
                    </a:lnTo>
                    <a:lnTo>
                      <a:pt x="28575" y="123825"/>
                    </a:lnTo>
                    <a:lnTo>
                      <a:pt x="0" y="127000"/>
                    </a:lnTo>
                    <a:lnTo>
                      <a:pt x="6350" y="146050"/>
                    </a:lnTo>
                    <a:lnTo>
                      <a:pt x="98425" y="123825"/>
                    </a:lnTo>
                    <a:lnTo>
                      <a:pt x="25400" y="155575"/>
                    </a:lnTo>
                    <a:lnTo>
                      <a:pt x="25400" y="155575"/>
                    </a:lnTo>
                    <a:lnTo>
                      <a:pt x="60325" y="174625"/>
                    </a:lnTo>
                    <a:lnTo>
                      <a:pt x="82550" y="193675"/>
                    </a:lnTo>
                    <a:lnTo>
                      <a:pt x="104775" y="149225"/>
                    </a:lnTo>
                    <a:lnTo>
                      <a:pt x="146050" y="123825"/>
                    </a:lnTo>
                    <a:lnTo>
                      <a:pt x="139700" y="98425"/>
                    </a:lnTo>
                    <a:lnTo>
                      <a:pt x="203200" y="85725"/>
                    </a:lnTo>
                    <a:lnTo>
                      <a:pt x="161925" y="66675"/>
                    </a:lnTo>
                    <a:lnTo>
                      <a:pt x="161925" y="66675"/>
                    </a:lnTo>
                    <a:lnTo>
                      <a:pt x="146050" y="44450"/>
                    </a:lnTo>
                    <a:lnTo>
                      <a:pt x="146050" y="44450"/>
                    </a:lnTo>
                    <a:lnTo>
                      <a:pt x="114300" y="73025"/>
                    </a:lnTo>
                    <a:lnTo>
                      <a:pt x="111125" y="31750"/>
                    </a:lnTo>
                    <a:lnTo>
                      <a:pt x="6350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7" name="Friform 19"/>
              <p:cNvSpPr/>
              <p:nvPr/>
            </p:nvSpPr>
            <p:spPr bwMode="auto">
              <a:xfrm>
                <a:off x="3960369" y="1863377"/>
                <a:ext cx="828613" cy="644477"/>
              </a:xfrm>
              <a:custGeom>
                <a:avLst/>
                <a:gdLst>
                  <a:gd name="connsiteX0" fmla="*/ 1057275 w 1057275"/>
                  <a:gd name="connsiteY0" fmla="*/ 79375 h 822325"/>
                  <a:gd name="connsiteX1" fmla="*/ 1057275 w 1057275"/>
                  <a:gd name="connsiteY1" fmla="*/ 79375 h 822325"/>
                  <a:gd name="connsiteX2" fmla="*/ 1025525 w 1057275"/>
                  <a:gd name="connsiteY2" fmla="*/ 0 h 822325"/>
                  <a:gd name="connsiteX3" fmla="*/ 1009650 w 1057275"/>
                  <a:gd name="connsiteY3" fmla="*/ 69850 h 822325"/>
                  <a:gd name="connsiteX4" fmla="*/ 968375 w 1057275"/>
                  <a:gd name="connsiteY4" fmla="*/ 76200 h 822325"/>
                  <a:gd name="connsiteX5" fmla="*/ 968375 w 1057275"/>
                  <a:gd name="connsiteY5" fmla="*/ 76200 h 822325"/>
                  <a:gd name="connsiteX6" fmla="*/ 930275 w 1057275"/>
                  <a:gd name="connsiteY6" fmla="*/ 50800 h 822325"/>
                  <a:gd name="connsiteX7" fmla="*/ 930275 w 1057275"/>
                  <a:gd name="connsiteY7" fmla="*/ 50800 h 822325"/>
                  <a:gd name="connsiteX8" fmla="*/ 936625 w 1057275"/>
                  <a:gd name="connsiteY8" fmla="*/ 98425 h 822325"/>
                  <a:gd name="connsiteX9" fmla="*/ 901700 w 1057275"/>
                  <a:gd name="connsiteY9" fmla="*/ 104775 h 822325"/>
                  <a:gd name="connsiteX10" fmla="*/ 863600 w 1057275"/>
                  <a:gd name="connsiteY10" fmla="*/ 95250 h 822325"/>
                  <a:gd name="connsiteX11" fmla="*/ 819150 w 1057275"/>
                  <a:gd name="connsiteY11" fmla="*/ 98425 h 822325"/>
                  <a:gd name="connsiteX12" fmla="*/ 787400 w 1057275"/>
                  <a:gd name="connsiteY12" fmla="*/ 111125 h 822325"/>
                  <a:gd name="connsiteX13" fmla="*/ 800100 w 1057275"/>
                  <a:gd name="connsiteY13" fmla="*/ 139700 h 822325"/>
                  <a:gd name="connsiteX14" fmla="*/ 835025 w 1057275"/>
                  <a:gd name="connsiteY14" fmla="*/ 142875 h 822325"/>
                  <a:gd name="connsiteX15" fmla="*/ 825500 w 1057275"/>
                  <a:gd name="connsiteY15" fmla="*/ 171450 h 822325"/>
                  <a:gd name="connsiteX16" fmla="*/ 803275 w 1057275"/>
                  <a:gd name="connsiteY16" fmla="*/ 190500 h 822325"/>
                  <a:gd name="connsiteX17" fmla="*/ 781050 w 1057275"/>
                  <a:gd name="connsiteY17" fmla="*/ 158750 h 822325"/>
                  <a:gd name="connsiteX18" fmla="*/ 749300 w 1057275"/>
                  <a:gd name="connsiteY18" fmla="*/ 158750 h 822325"/>
                  <a:gd name="connsiteX19" fmla="*/ 730250 w 1057275"/>
                  <a:gd name="connsiteY19" fmla="*/ 200025 h 822325"/>
                  <a:gd name="connsiteX20" fmla="*/ 746125 w 1057275"/>
                  <a:gd name="connsiteY20" fmla="*/ 257175 h 822325"/>
                  <a:gd name="connsiteX21" fmla="*/ 714375 w 1057275"/>
                  <a:gd name="connsiteY21" fmla="*/ 250825 h 822325"/>
                  <a:gd name="connsiteX22" fmla="*/ 714375 w 1057275"/>
                  <a:gd name="connsiteY22" fmla="*/ 250825 h 822325"/>
                  <a:gd name="connsiteX23" fmla="*/ 666750 w 1057275"/>
                  <a:gd name="connsiteY23" fmla="*/ 269875 h 822325"/>
                  <a:gd name="connsiteX24" fmla="*/ 669925 w 1057275"/>
                  <a:gd name="connsiteY24" fmla="*/ 244475 h 822325"/>
                  <a:gd name="connsiteX25" fmla="*/ 581025 w 1057275"/>
                  <a:gd name="connsiteY25" fmla="*/ 288925 h 822325"/>
                  <a:gd name="connsiteX26" fmla="*/ 549275 w 1057275"/>
                  <a:gd name="connsiteY26" fmla="*/ 273050 h 822325"/>
                  <a:gd name="connsiteX27" fmla="*/ 501650 w 1057275"/>
                  <a:gd name="connsiteY27" fmla="*/ 288925 h 822325"/>
                  <a:gd name="connsiteX28" fmla="*/ 501650 w 1057275"/>
                  <a:gd name="connsiteY28" fmla="*/ 288925 h 822325"/>
                  <a:gd name="connsiteX29" fmla="*/ 457200 w 1057275"/>
                  <a:gd name="connsiteY29" fmla="*/ 254000 h 822325"/>
                  <a:gd name="connsiteX30" fmla="*/ 457200 w 1057275"/>
                  <a:gd name="connsiteY30" fmla="*/ 254000 h 822325"/>
                  <a:gd name="connsiteX31" fmla="*/ 441325 w 1057275"/>
                  <a:gd name="connsiteY31" fmla="*/ 279400 h 822325"/>
                  <a:gd name="connsiteX32" fmla="*/ 460375 w 1057275"/>
                  <a:gd name="connsiteY32" fmla="*/ 304800 h 822325"/>
                  <a:gd name="connsiteX33" fmla="*/ 428625 w 1057275"/>
                  <a:gd name="connsiteY33" fmla="*/ 301625 h 822325"/>
                  <a:gd name="connsiteX34" fmla="*/ 400050 w 1057275"/>
                  <a:gd name="connsiteY34" fmla="*/ 288925 h 822325"/>
                  <a:gd name="connsiteX35" fmla="*/ 400050 w 1057275"/>
                  <a:gd name="connsiteY35" fmla="*/ 288925 h 822325"/>
                  <a:gd name="connsiteX36" fmla="*/ 368300 w 1057275"/>
                  <a:gd name="connsiteY36" fmla="*/ 304800 h 822325"/>
                  <a:gd name="connsiteX37" fmla="*/ 377825 w 1057275"/>
                  <a:gd name="connsiteY37" fmla="*/ 336550 h 822325"/>
                  <a:gd name="connsiteX38" fmla="*/ 352425 w 1057275"/>
                  <a:gd name="connsiteY38" fmla="*/ 355600 h 822325"/>
                  <a:gd name="connsiteX39" fmla="*/ 352425 w 1057275"/>
                  <a:gd name="connsiteY39" fmla="*/ 317500 h 822325"/>
                  <a:gd name="connsiteX40" fmla="*/ 352425 w 1057275"/>
                  <a:gd name="connsiteY40" fmla="*/ 317500 h 822325"/>
                  <a:gd name="connsiteX41" fmla="*/ 314325 w 1057275"/>
                  <a:gd name="connsiteY41" fmla="*/ 368300 h 822325"/>
                  <a:gd name="connsiteX42" fmla="*/ 269875 w 1057275"/>
                  <a:gd name="connsiteY42" fmla="*/ 384175 h 822325"/>
                  <a:gd name="connsiteX43" fmla="*/ 269875 w 1057275"/>
                  <a:gd name="connsiteY43" fmla="*/ 384175 h 822325"/>
                  <a:gd name="connsiteX44" fmla="*/ 234950 w 1057275"/>
                  <a:gd name="connsiteY44" fmla="*/ 415925 h 822325"/>
                  <a:gd name="connsiteX45" fmla="*/ 234950 w 1057275"/>
                  <a:gd name="connsiteY45" fmla="*/ 415925 h 822325"/>
                  <a:gd name="connsiteX46" fmla="*/ 234950 w 1057275"/>
                  <a:gd name="connsiteY46" fmla="*/ 415925 h 822325"/>
                  <a:gd name="connsiteX47" fmla="*/ 234950 w 1057275"/>
                  <a:gd name="connsiteY47" fmla="*/ 415925 h 822325"/>
                  <a:gd name="connsiteX48" fmla="*/ 257175 w 1057275"/>
                  <a:gd name="connsiteY48" fmla="*/ 438150 h 822325"/>
                  <a:gd name="connsiteX49" fmla="*/ 215900 w 1057275"/>
                  <a:gd name="connsiteY49" fmla="*/ 434975 h 822325"/>
                  <a:gd name="connsiteX50" fmla="*/ 215900 w 1057275"/>
                  <a:gd name="connsiteY50" fmla="*/ 434975 h 822325"/>
                  <a:gd name="connsiteX51" fmla="*/ 184150 w 1057275"/>
                  <a:gd name="connsiteY51" fmla="*/ 419100 h 822325"/>
                  <a:gd name="connsiteX52" fmla="*/ 196850 w 1057275"/>
                  <a:gd name="connsiteY52" fmla="*/ 457200 h 822325"/>
                  <a:gd name="connsiteX53" fmla="*/ 196850 w 1057275"/>
                  <a:gd name="connsiteY53" fmla="*/ 457200 h 822325"/>
                  <a:gd name="connsiteX54" fmla="*/ 158750 w 1057275"/>
                  <a:gd name="connsiteY54" fmla="*/ 447675 h 822325"/>
                  <a:gd name="connsiteX55" fmla="*/ 107950 w 1057275"/>
                  <a:gd name="connsiteY55" fmla="*/ 463550 h 822325"/>
                  <a:gd name="connsiteX56" fmla="*/ 107950 w 1057275"/>
                  <a:gd name="connsiteY56" fmla="*/ 463550 h 822325"/>
                  <a:gd name="connsiteX57" fmla="*/ 155575 w 1057275"/>
                  <a:gd name="connsiteY57" fmla="*/ 488950 h 822325"/>
                  <a:gd name="connsiteX58" fmla="*/ 155575 w 1057275"/>
                  <a:gd name="connsiteY58" fmla="*/ 488950 h 822325"/>
                  <a:gd name="connsiteX59" fmla="*/ 184150 w 1057275"/>
                  <a:gd name="connsiteY59" fmla="*/ 504825 h 822325"/>
                  <a:gd name="connsiteX60" fmla="*/ 209550 w 1057275"/>
                  <a:gd name="connsiteY60" fmla="*/ 523875 h 822325"/>
                  <a:gd name="connsiteX61" fmla="*/ 206375 w 1057275"/>
                  <a:gd name="connsiteY61" fmla="*/ 574675 h 822325"/>
                  <a:gd name="connsiteX62" fmla="*/ 193675 w 1057275"/>
                  <a:gd name="connsiteY62" fmla="*/ 615950 h 822325"/>
                  <a:gd name="connsiteX63" fmla="*/ 136525 w 1057275"/>
                  <a:gd name="connsiteY63" fmla="*/ 612775 h 822325"/>
                  <a:gd name="connsiteX64" fmla="*/ 104775 w 1057275"/>
                  <a:gd name="connsiteY64" fmla="*/ 615950 h 822325"/>
                  <a:gd name="connsiteX65" fmla="*/ 73025 w 1057275"/>
                  <a:gd name="connsiteY65" fmla="*/ 596900 h 822325"/>
                  <a:gd name="connsiteX66" fmla="*/ 53975 w 1057275"/>
                  <a:gd name="connsiteY66" fmla="*/ 612775 h 822325"/>
                  <a:gd name="connsiteX67" fmla="*/ 31750 w 1057275"/>
                  <a:gd name="connsiteY67" fmla="*/ 603250 h 822325"/>
                  <a:gd name="connsiteX68" fmla="*/ 0 w 1057275"/>
                  <a:gd name="connsiteY68" fmla="*/ 625475 h 822325"/>
                  <a:gd name="connsiteX69" fmla="*/ 19050 w 1057275"/>
                  <a:gd name="connsiteY69" fmla="*/ 650875 h 822325"/>
                  <a:gd name="connsiteX70" fmla="*/ 15875 w 1057275"/>
                  <a:gd name="connsiteY70" fmla="*/ 695325 h 822325"/>
                  <a:gd name="connsiteX71" fmla="*/ 19050 w 1057275"/>
                  <a:gd name="connsiteY71" fmla="*/ 733425 h 822325"/>
                  <a:gd name="connsiteX72" fmla="*/ 19050 w 1057275"/>
                  <a:gd name="connsiteY72" fmla="*/ 733425 h 822325"/>
                  <a:gd name="connsiteX73" fmla="*/ 25400 w 1057275"/>
                  <a:gd name="connsiteY73" fmla="*/ 774700 h 822325"/>
                  <a:gd name="connsiteX74" fmla="*/ 25400 w 1057275"/>
                  <a:gd name="connsiteY74" fmla="*/ 774700 h 822325"/>
                  <a:gd name="connsiteX75" fmla="*/ 34925 w 1057275"/>
                  <a:gd name="connsiteY75" fmla="*/ 815975 h 822325"/>
                  <a:gd name="connsiteX76" fmla="*/ 60325 w 1057275"/>
                  <a:gd name="connsiteY76" fmla="*/ 796925 h 822325"/>
                  <a:gd name="connsiteX77" fmla="*/ 92075 w 1057275"/>
                  <a:gd name="connsiteY77" fmla="*/ 822325 h 822325"/>
                  <a:gd name="connsiteX78" fmla="*/ 130175 w 1057275"/>
                  <a:gd name="connsiteY78" fmla="*/ 809625 h 822325"/>
                  <a:gd name="connsiteX79" fmla="*/ 184150 w 1057275"/>
                  <a:gd name="connsiteY79" fmla="*/ 815975 h 822325"/>
                  <a:gd name="connsiteX80" fmla="*/ 215900 w 1057275"/>
                  <a:gd name="connsiteY80" fmla="*/ 781050 h 822325"/>
                  <a:gd name="connsiteX81" fmla="*/ 238125 w 1057275"/>
                  <a:gd name="connsiteY81" fmla="*/ 742950 h 822325"/>
                  <a:gd name="connsiteX82" fmla="*/ 225425 w 1057275"/>
                  <a:gd name="connsiteY82" fmla="*/ 717550 h 822325"/>
                  <a:gd name="connsiteX83" fmla="*/ 269875 w 1057275"/>
                  <a:gd name="connsiteY83" fmla="*/ 666750 h 822325"/>
                  <a:gd name="connsiteX84" fmla="*/ 317500 w 1057275"/>
                  <a:gd name="connsiteY84" fmla="*/ 654050 h 822325"/>
                  <a:gd name="connsiteX85" fmla="*/ 301625 w 1057275"/>
                  <a:gd name="connsiteY85" fmla="*/ 612775 h 822325"/>
                  <a:gd name="connsiteX86" fmla="*/ 346075 w 1057275"/>
                  <a:gd name="connsiteY86" fmla="*/ 603250 h 822325"/>
                  <a:gd name="connsiteX87" fmla="*/ 374650 w 1057275"/>
                  <a:gd name="connsiteY87" fmla="*/ 625475 h 822325"/>
                  <a:gd name="connsiteX88" fmla="*/ 434975 w 1057275"/>
                  <a:gd name="connsiteY88" fmla="*/ 593725 h 822325"/>
                  <a:gd name="connsiteX89" fmla="*/ 434975 w 1057275"/>
                  <a:gd name="connsiteY89" fmla="*/ 593725 h 822325"/>
                  <a:gd name="connsiteX90" fmla="*/ 473075 w 1057275"/>
                  <a:gd name="connsiteY90" fmla="*/ 584200 h 822325"/>
                  <a:gd name="connsiteX91" fmla="*/ 498475 w 1057275"/>
                  <a:gd name="connsiteY91" fmla="*/ 635000 h 822325"/>
                  <a:gd name="connsiteX92" fmla="*/ 549275 w 1057275"/>
                  <a:gd name="connsiteY92" fmla="*/ 669925 h 822325"/>
                  <a:gd name="connsiteX93" fmla="*/ 609600 w 1057275"/>
                  <a:gd name="connsiteY93" fmla="*/ 701675 h 822325"/>
                  <a:gd name="connsiteX94" fmla="*/ 622300 w 1057275"/>
                  <a:gd name="connsiteY94" fmla="*/ 736600 h 822325"/>
                  <a:gd name="connsiteX95" fmla="*/ 612775 w 1057275"/>
                  <a:gd name="connsiteY95" fmla="*/ 771525 h 822325"/>
                  <a:gd name="connsiteX96" fmla="*/ 644525 w 1057275"/>
                  <a:gd name="connsiteY96" fmla="*/ 739775 h 822325"/>
                  <a:gd name="connsiteX97" fmla="*/ 635000 w 1057275"/>
                  <a:gd name="connsiteY97" fmla="*/ 711200 h 822325"/>
                  <a:gd name="connsiteX98" fmla="*/ 635000 w 1057275"/>
                  <a:gd name="connsiteY98" fmla="*/ 711200 h 822325"/>
                  <a:gd name="connsiteX99" fmla="*/ 635000 w 1057275"/>
                  <a:gd name="connsiteY99" fmla="*/ 711200 h 822325"/>
                  <a:gd name="connsiteX100" fmla="*/ 647700 w 1057275"/>
                  <a:gd name="connsiteY100" fmla="*/ 698500 h 822325"/>
                  <a:gd name="connsiteX101" fmla="*/ 682625 w 1057275"/>
                  <a:gd name="connsiteY101" fmla="*/ 720725 h 822325"/>
                  <a:gd name="connsiteX102" fmla="*/ 682625 w 1057275"/>
                  <a:gd name="connsiteY102" fmla="*/ 698500 h 822325"/>
                  <a:gd name="connsiteX103" fmla="*/ 644525 w 1057275"/>
                  <a:gd name="connsiteY103" fmla="*/ 679450 h 822325"/>
                  <a:gd name="connsiteX104" fmla="*/ 609600 w 1057275"/>
                  <a:gd name="connsiteY104" fmla="*/ 669925 h 822325"/>
                  <a:gd name="connsiteX105" fmla="*/ 625475 w 1057275"/>
                  <a:gd name="connsiteY105" fmla="*/ 644525 h 822325"/>
                  <a:gd name="connsiteX106" fmla="*/ 590550 w 1057275"/>
                  <a:gd name="connsiteY106" fmla="*/ 647700 h 822325"/>
                  <a:gd name="connsiteX107" fmla="*/ 558800 w 1057275"/>
                  <a:gd name="connsiteY107" fmla="*/ 619125 h 822325"/>
                  <a:gd name="connsiteX108" fmla="*/ 520700 w 1057275"/>
                  <a:gd name="connsiteY108" fmla="*/ 581025 h 822325"/>
                  <a:gd name="connsiteX109" fmla="*/ 523875 w 1057275"/>
                  <a:gd name="connsiteY109" fmla="*/ 555625 h 822325"/>
                  <a:gd name="connsiteX110" fmla="*/ 561975 w 1057275"/>
                  <a:gd name="connsiteY110" fmla="*/ 539750 h 822325"/>
                  <a:gd name="connsiteX111" fmla="*/ 565150 w 1057275"/>
                  <a:gd name="connsiteY111" fmla="*/ 571500 h 822325"/>
                  <a:gd name="connsiteX112" fmla="*/ 590550 w 1057275"/>
                  <a:gd name="connsiteY112" fmla="*/ 555625 h 822325"/>
                  <a:gd name="connsiteX113" fmla="*/ 609600 w 1057275"/>
                  <a:gd name="connsiteY113" fmla="*/ 600075 h 822325"/>
                  <a:gd name="connsiteX114" fmla="*/ 679450 w 1057275"/>
                  <a:gd name="connsiteY114" fmla="*/ 628650 h 822325"/>
                  <a:gd name="connsiteX115" fmla="*/ 714375 w 1057275"/>
                  <a:gd name="connsiteY115" fmla="*/ 663575 h 822325"/>
                  <a:gd name="connsiteX116" fmla="*/ 698500 w 1057275"/>
                  <a:gd name="connsiteY116" fmla="*/ 698500 h 822325"/>
                  <a:gd name="connsiteX117" fmla="*/ 736600 w 1057275"/>
                  <a:gd name="connsiteY117" fmla="*/ 746125 h 822325"/>
                  <a:gd name="connsiteX118" fmla="*/ 765175 w 1057275"/>
                  <a:gd name="connsiteY118" fmla="*/ 742950 h 822325"/>
                  <a:gd name="connsiteX119" fmla="*/ 736600 w 1057275"/>
                  <a:gd name="connsiteY119" fmla="*/ 758825 h 822325"/>
                  <a:gd name="connsiteX120" fmla="*/ 771525 w 1057275"/>
                  <a:gd name="connsiteY120" fmla="*/ 765175 h 822325"/>
                  <a:gd name="connsiteX121" fmla="*/ 739775 w 1057275"/>
                  <a:gd name="connsiteY121" fmla="*/ 781050 h 822325"/>
                  <a:gd name="connsiteX122" fmla="*/ 777875 w 1057275"/>
                  <a:gd name="connsiteY122" fmla="*/ 809625 h 822325"/>
                  <a:gd name="connsiteX123" fmla="*/ 796925 w 1057275"/>
                  <a:gd name="connsiteY123" fmla="*/ 781050 h 822325"/>
                  <a:gd name="connsiteX124" fmla="*/ 784225 w 1057275"/>
                  <a:gd name="connsiteY124" fmla="*/ 758825 h 822325"/>
                  <a:gd name="connsiteX125" fmla="*/ 828675 w 1057275"/>
                  <a:gd name="connsiteY125" fmla="*/ 771525 h 822325"/>
                  <a:gd name="connsiteX126" fmla="*/ 784225 w 1057275"/>
                  <a:gd name="connsiteY126" fmla="*/ 723900 h 822325"/>
                  <a:gd name="connsiteX127" fmla="*/ 774700 w 1057275"/>
                  <a:gd name="connsiteY127" fmla="*/ 682625 h 822325"/>
                  <a:gd name="connsiteX128" fmla="*/ 809625 w 1057275"/>
                  <a:gd name="connsiteY128" fmla="*/ 704850 h 822325"/>
                  <a:gd name="connsiteX129" fmla="*/ 806450 w 1057275"/>
                  <a:gd name="connsiteY129" fmla="*/ 666750 h 822325"/>
                  <a:gd name="connsiteX130" fmla="*/ 863600 w 1057275"/>
                  <a:gd name="connsiteY130" fmla="*/ 679450 h 822325"/>
                  <a:gd name="connsiteX131" fmla="*/ 873125 w 1057275"/>
                  <a:gd name="connsiteY131" fmla="*/ 714375 h 822325"/>
                  <a:gd name="connsiteX132" fmla="*/ 895350 w 1057275"/>
                  <a:gd name="connsiteY132" fmla="*/ 714375 h 822325"/>
                  <a:gd name="connsiteX133" fmla="*/ 892175 w 1057275"/>
                  <a:gd name="connsiteY133" fmla="*/ 682625 h 822325"/>
                  <a:gd name="connsiteX134" fmla="*/ 968375 w 1057275"/>
                  <a:gd name="connsiteY134" fmla="*/ 682625 h 822325"/>
                  <a:gd name="connsiteX135" fmla="*/ 917575 w 1057275"/>
                  <a:gd name="connsiteY135" fmla="*/ 663575 h 822325"/>
                  <a:gd name="connsiteX136" fmla="*/ 895350 w 1057275"/>
                  <a:gd name="connsiteY136" fmla="*/ 622300 h 822325"/>
                  <a:gd name="connsiteX137" fmla="*/ 927100 w 1057275"/>
                  <a:gd name="connsiteY137" fmla="*/ 590550 h 822325"/>
                  <a:gd name="connsiteX138" fmla="*/ 942975 w 1057275"/>
                  <a:gd name="connsiteY138" fmla="*/ 539750 h 822325"/>
                  <a:gd name="connsiteX139" fmla="*/ 942975 w 1057275"/>
                  <a:gd name="connsiteY139" fmla="*/ 539750 h 822325"/>
                  <a:gd name="connsiteX140" fmla="*/ 974725 w 1057275"/>
                  <a:gd name="connsiteY140" fmla="*/ 542925 h 822325"/>
                  <a:gd name="connsiteX141" fmla="*/ 981075 w 1057275"/>
                  <a:gd name="connsiteY141" fmla="*/ 457200 h 822325"/>
                  <a:gd name="connsiteX142" fmla="*/ 952500 w 1057275"/>
                  <a:gd name="connsiteY142" fmla="*/ 336550 h 822325"/>
                  <a:gd name="connsiteX143" fmla="*/ 1022350 w 1057275"/>
                  <a:gd name="connsiteY143" fmla="*/ 206375 h 822325"/>
                  <a:gd name="connsiteX144" fmla="*/ 1057275 w 1057275"/>
                  <a:gd name="connsiteY144" fmla="*/ 79375 h 8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057275" h="822325">
                    <a:moveTo>
                      <a:pt x="1057275" y="79375"/>
                    </a:moveTo>
                    <a:lnTo>
                      <a:pt x="1057275" y="79375"/>
                    </a:lnTo>
                    <a:cubicBezTo>
                      <a:pt x="1028342" y="-996"/>
                      <a:pt x="1056821" y="0"/>
                      <a:pt x="1025525" y="0"/>
                    </a:cubicBezTo>
                    <a:lnTo>
                      <a:pt x="1009650" y="69850"/>
                    </a:lnTo>
                    <a:lnTo>
                      <a:pt x="968375" y="76200"/>
                    </a:lnTo>
                    <a:lnTo>
                      <a:pt x="968375" y="76200"/>
                    </a:lnTo>
                    <a:lnTo>
                      <a:pt x="930275" y="50800"/>
                    </a:lnTo>
                    <a:lnTo>
                      <a:pt x="930275" y="50800"/>
                    </a:lnTo>
                    <a:lnTo>
                      <a:pt x="936625" y="98425"/>
                    </a:lnTo>
                    <a:lnTo>
                      <a:pt x="901700" y="104775"/>
                    </a:lnTo>
                    <a:lnTo>
                      <a:pt x="863600" y="95250"/>
                    </a:lnTo>
                    <a:lnTo>
                      <a:pt x="819150" y="98425"/>
                    </a:lnTo>
                    <a:lnTo>
                      <a:pt x="787400" y="111125"/>
                    </a:lnTo>
                    <a:lnTo>
                      <a:pt x="800100" y="139700"/>
                    </a:lnTo>
                    <a:lnTo>
                      <a:pt x="835025" y="142875"/>
                    </a:lnTo>
                    <a:lnTo>
                      <a:pt x="825500" y="171450"/>
                    </a:lnTo>
                    <a:lnTo>
                      <a:pt x="803275" y="190500"/>
                    </a:lnTo>
                    <a:lnTo>
                      <a:pt x="781050" y="158750"/>
                    </a:lnTo>
                    <a:lnTo>
                      <a:pt x="749300" y="158750"/>
                    </a:lnTo>
                    <a:lnTo>
                      <a:pt x="730250" y="200025"/>
                    </a:lnTo>
                    <a:lnTo>
                      <a:pt x="746125" y="257175"/>
                    </a:lnTo>
                    <a:lnTo>
                      <a:pt x="714375" y="250825"/>
                    </a:lnTo>
                    <a:lnTo>
                      <a:pt x="714375" y="250825"/>
                    </a:lnTo>
                    <a:lnTo>
                      <a:pt x="666750" y="269875"/>
                    </a:lnTo>
                    <a:lnTo>
                      <a:pt x="669925" y="244475"/>
                    </a:lnTo>
                    <a:lnTo>
                      <a:pt x="581025" y="288925"/>
                    </a:lnTo>
                    <a:lnTo>
                      <a:pt x="549275" y="273050"/>
                    </a:lnTo>
                    <a:lnTo>
                      <a:pt x="501650" y="288925"/>
                    </a:lnTo>
                    <a:lnTo>
                      <a:pt x="501650" y="288925"/>
                    </a:lnTo>
                    <a:lnTo>
                      <a:pt x="457200" y="254000"/>
                    </a:lnTo>
                    <a:lnTo>
                      <a:pt x="457200" y="254000"/>
                    </a:lnTo>
                    <a:lnTo>
                      <a:pt x="441325" y="279400"/>
                    </a:lnTo>
                    <a:lnTo>
                      <a:pt x="460375" y="304800"/>
                    </a:lnTo>
                    <a:lnTo>
                      <a:pt x="428625" y="301625"/>
                    </a:lnTo>
                    <a:lnTo>
                      <a:pt x="400050" y="288925"/>
                    </a:lnTo>
                    <a:lnTo>
                      <a:pt x="400050" y="288925"/>
                    </a:lnTo>
                    <a:lnTo>
                      <a:pt x="368300" y="304800"/>
                    </a:lnTo>
                    <a:lnTo>
                      <a:pt x="377825" y="336550"/>
                    </a:lnTo>
                    <a:lnTo>
                      <a:pt x="352425" y="355600"/>
                    </a:lnTo>
                    <a:lnTo>
                      <a:pt x="352425" y="317500"/>
                    </a:lnTo>
                    <a:lnTo>
                      <a:pt x="352425" y="317500"/>
                    </a:lnTo>
                    <a:lnTo>
                      <a:pt x="314325" y="368300"/>
                    </a:lnTo>
                    <a:lnTo>
                      <a:pt x="269875" y="384175"/>
                    </a:lnTo>
                    <a:lnTo>
                      <a:pt x="269875" y="384175"/>
                    </a:lnTo>
                    <a:lnTo>
                      <a:pt x="234950" y="415925"/>
                    </a:lnTo>
                    <a:lnTo>
                      <a:pt x="234950" y="415925"/>
                    </a:lnTo>
                    <a:lnTo>
                      <a:pt x="234950" y="415925"/>
                    </a:lnTo>
                    <a:lnTo>
                      <a:pt x="234950" y="415925"/>
                    </a:lnTo>
                    <a:lnTo>
                      <a:pt x="257175" y="438150"/>
                    </a:lnTo>
                    <a:lnTo>
                      <a:pt x="215900" y="434975"/>
                    </a:lnTo>
                    <a:lnTo>
                      <a:pt x="215900" y="434975"/>
                    </a:lnTo>
                    <a:lnTo>
                      <a:pt x="184150" y="419100"/>
                    </a:lnTo>
                    <a:lnTo>
                      <a:pt x="196850" y="457200"/>
                    </a:lnTo>
                    <a:lnTo>
                      <a:pt x="196850" y="457200"/>
                    </a:lnTo>
                    <a:lnTo>
                      <a:pt x="158750" y="447675"/>
                    </a:lnTo>
                    <a:lnTo>
                      <a:pt x="107950" y="463550"/>
                    </a:lnTo>
                    <a:lnTo>
                      <a:pt x="107950" y="463550"/>
                    </a:lnTo>
                    <a:lnTo>
                      <a:pt x="155575" y="488950"/>
                    </a:lnTo>
                    <a:lnTo>
                      <a:pt x="155575" y="488950"/>
                    </a:lnTo>
                    <a:lnTo>
                      <a:pt x="184150" y="504825"/>
                    </a:lnTo>
                    <a:lnTo>
                      <a:pt x="209550" y="523875"/>
                    </a:lnTo>
                    <a:lnTo>
                      <a:pt x="206375" y="574675"/>
                    </a:lnTo>
                    <a:lnTo>
                      <a:pt x="193675" y="615950"/>
                    </a:lnTo>
                    <a:lnTo>
                      <a:pt x="136525" y="612775"/>
                    </a:lnTo>
                    <a:lnTo>
                      <a:pt x="104775" y="615950"/>
                    </a:lnTo>
                    <a:lnTo>
                      <a:pt x="73025" y="596900"/>
                    </a:lnTo>
                    <a:lnTo>
                      <a:pt x="53975" y="612775"/>
                    </a:lnTo>
                    <a:lnTo>
                      <a:pt x="31750" y="603250"/>
                    </a:lnTo>
                    <a:lnTo>
                      <a:pt x="0" y="625475"/>
                    </a:lnTo>
                    <a:lnTo>
                      <a:pt x="19050" y="650875"/>
                    </a:lnTo>
                    <a:lnTo>
                      <a:pt x="15875" y="695325"/>
                    </a:lnTo>
                    <a:lnTo>
                      <a:pt x="19050" y="733425"/>
                    </a:lnTo>
                    <a:lnTo>
                      <a:pt x="19050" y="733425"/>
                    </a:lnTo>
                    <a:lnTo>
                      <a:pt x="25400" y="774700"/>
                    </a:lnTo>
                    <a:lnTo>
                      <a:pt x="25400" y="774700"/>
                    </a:lnTo>
                    <a:lnTo>
                      <a:pt x="34925" y="815975"/>
                    </a:lnTo>
                    <a:lnTo>
                      <a:pt x="60325" y="796925"/>
                    </a:lnTo>
                    <a:lnTo>
                      <a:pt x="92075" y="822325"/>
                    </a:lnTo>
                    <a:lnTo>
                      <a:pt x="130175" y="809625"/>
                    </a:lnTo>
                    <a:lnTo>
                      <a:pt x="184150" y="815975"/>
                    </a:lnTo>
                    <a:lnTo>
                      <a:pt x="215900" y="781050"/>
                    </a:lnTo>
                    <a:lnTo>
                      <a:pt x="238125" y="742950"/>
                    </a:lnTo>
                    <a:lnTo>
                      <a:pt x="225425" y="717550"/>
                    </a:lnTo>
                    <a:lnTo>
                      <a:pt x="269875" y="666750"/>
                    </a:lnTo>
                    <a:lnTo>
                      <a:pt x="317500" y="654050"/>
                    </a:lnTo>
                    <a:lnTo>
                      <a:pt x="301625" y="612775"/>
                    </a:lnTo>
                    <a:lnTo>
                      <a:pt x="346075" y="603250"/>
                    </a:lnTo>
                    <a:lnTo>
                      <a:pt x="374650" y="625475"/>
                    </a:lnTo>
                    <a:lnTo>
                      <a:pt x="434975" y="593725"/>
                    </a:lnTo>
                    <a:lnTo>
                      <a:pt x="434975" y="593725"/>
                    </a:lnTo>
                    <a:lnTo>
                      <a:pt x="473075" y="584200"/>
                    </a:lnTo>
                    <a:lnTo>
                      <a:pt x="498475" y="635000"/>
                    </a:lnTo>
                    <a:lnTo>
                      <a:pt x="549275" y="669925"/>
                    </a:lnTo>
                    <a:lnTo>
                      <a:pt x="609600" y="701675"/>
                    </a:lnTo>
                    <a:lnTo>
                      <a:pt x="622300" y="736600"/>
                    </a:lnTo>
                    <a:lnTo>
                      <a:pt x="612775" y="771525"/>
                    </a:lnTo>
                    <a:lnTo>
                      <a:pt x="644525" y="739775"/>
                    </a:lnTo>
                    <a:lnTo>
                      <a:pt x="635000" y="711200"/>
                    </a:lnTo>
                    <a:lnTo>
                      <a:pt x="635000" y="711200"/>
                    </a:lnTo>
                    <a:lnTo>
                      <a:pt x="635000" y="711200"/>
                    </a:lnTo>
                    <a:lnTo>
                      <a:pt x="647700" y="698500"/>
                    </a:lnTo>
                    <a:lnTo>
                      <a:pt x="682625" y="720725"/>
                    </a:lnTo>
                    <a:lnTo>
                      <a:pt x="682625" y="698500"/>
                    </a:lnTo>
                    <a:lnTo>
                      <a:pt x="644525" y="679450"/>
                    </a:lnTo>
                    <a:lnTo>
                      <a:pt x="609600" y="669925"/>
                    </a:lnTo>
                    <a:lnTo>
                      <a:pt x="625475" y="644525"/>
                    </a:lnTo>
                    <a:lnTo>
                      <a:pt x="590550" y="647700"/>
                    </a:lnTo>
                    <a:lnTo>
                      <a:pt x="558800" y="619125"/>
                    </a:lnTo>
                    <a:lnTo>
                      <a:pt x="520700" y="581025"/>
                    </a:lnTo>
                    <a:lnTo>
                      <a:pt x="523875" y="555625"/>
                    </a:lnTo>
                    <a:lnTo>
                      <a:pt x="561975" y="539750"/>
                    </a:lnTo>
                    <a:lnTo>
                      <a:pt x="565150" y="571500"/>
                    </a:lnTo>
                    <a:lnTo>
                      <a:pt x="590550" y="555625"/>
                    </a:lnTo>
                    <a:lnTo>
                      <a:pt x="609600" y="600075"/>
                    </a:lnTo>
                    <a:lnTo>
                      <a:pt x="679450" y="628650"/>
                    </a:lnTo>
                    <a:lnTo>
                      <a:pt x="714375" y="663575"/>
                    </a:lnTo>
                    <a:lnTo>
                      <a:pt x="698500" y="698500"/>
                    </a:lnTo>
                    <a:lnTo>
                      <a:pt x="736600" y="746125"/>
                    </a:lnTo>
                    <a:lnTo>
                      <a:pt x="765175" y="742950"/>
                    </a:lnTo>
                    <a:lnTo>
                      <a:pt x="736600" y="758825"/>
                    </a:lnTo>
                    <a:lnTo>
                      <a:pt x="771525" y="765175"/>
                    </a:lnTo>
                    <a:lnTo>
                      <a:pt x="739775" y="781050"/>
                    </a:lnTo>
                    <a:lnTo>
                      <a:pt x="777875" y="809625"/>
                    </a:lnTo>
                    <a:lnTo>
                      <a:pt x="796925" y="781050"/>
                    </a:lnTo>
                    <a:lnTo>
                      <a:pt x="784225" y="758825"/>
                    </a:lnTo>
                    <a:lnTo>
                      <a:pt x="828675" y="771525"/>
                    </a:lnTo>
                    <a:lnTo>
                      <a:pt x="784225" y="723900"/>
                    </a:lnTo>
                    <a:lnTo>
                      <a:pt x="774700" y="682625"/>
                    </a:lnTo>
                    <a:lnTo>
                      <a:pt x="809625" y="704850"/>
                    </a:lnTo>
                    <a:lnTo>
                      <a:pt x="806450" y="666750"/>
                    </a:lnTo>
                    <a:lnTo>
                      <a:pt x="863600" y="679450"/>
                    </a:lnTo>
                    <a:lnTo>
                      <a:pt x="873125" y="714375"/>
                    </a:lnTo>
                    <a:lnTo>
                      <a:pt x="895350" y="714375"/>
                    </a:lnTo>
                    <a:lnTo>
                      <a:pt x="892175" y="682625"/>
                    </a:lnTo>
                    <a:lnTo>
                      <a:pt x="968375" y="682625"/>
                    </a:lnTo>
                    <a:lnTo>
                      <a:pt x="917575" y="663575"/>
                    </a:lnTo>
                    <a:lnTo>
                      <a:pt x="895350" y="622300"/>
                    </a:lnTo>
                    <a:lnTo>
                      <a:pt x="927100" y="590550"/>
                    </a:lnTo>
                    <a:lnTo>
                      <a:pt x="942975" y="539750"/>
                    </a:lnTo>
                    <a:lnTo>
                      <a:pt x="942975" y="539750"/>
                    </a:lnTo>
                    <a:lnTo>
                      <a:pt x="974725" y="542925"/>
                    </a:lnTo>
                    <a:lnTo>
                      <a:pt x="981075" y="457200"/>
                    </a:lnTo>
                    <a:lnTo>
                      <a:pt x="952500" y="336550"/>
                    </a:lnTo>
                    <a:lnTo>
                      <a:pt x="1022350" y="206375"/>
                    </a:lnTo>
                    <a:lnTo>
                      <a:pt x="1057275" y="79375"/>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8" name="Friform 20"/>
              <p:cNvSpPr/>
              <p:nvPr/>
            </p:nvSpPr>
            <p:spPr bwMode="auto">
              <a:xfrm rot="20376583">
                <a:off x="4000962" y="1946734"/>
                <a:ext cx="138965" cy="225818"/>
              </a:xfrm>
              <a:custGeom>
                <a:avLst/>
                <a:gdLst>
                  <a:gd name="connsiteX0" fmla="*/ 389744 w 629587"/>
                  <a:gd name="connsiteY0" fmla="*/ 322289 h 1023079"/>
                  <a:gd name="connsiteX1" fmla="*/ 445958 w 629587"/>
                  <a:gd name="connsiteY1" fmla="*/ 322289 h 1023079"/>
                  <a:gd name="connsiteX2" fmla="*/ 479685 w 629587"/>
                  <a:gd name="connsiteY2" fmla="*/ 307298 h 1023079"/>
                  <a:gd name="connsiteX3" fmla="*/ 449705 w 629587"/>
                  <a:gd name="connsiteY3" fmla="*/ 284813 h 1023079"/>
                  <a:gd name="connsiteX4" fmla="*/ 494676 w 629587"/>
                  <a:gd name="connsiteY4" fmla="*/ 277318 h 1023079"/>
                  <a:gd name="connsiteX5" fmla="*/ 539646 w 629587"/>
                  <a:gd name="connsiteY5" fmla="*/ 224853 h 1023079"/>
                  <a:gd name="connsiteX6" fmla="*/ 584617 w 629587"/>
                  <a:gd name="connsiteY6" fmla="*/ 202367 h 1023079"/>
                  <a:gd name="connsiteX7" fmla="*/ 584617 w 629587"/>
                  <a:gd name="connsiteY7" fmla="*/ 179882 h 1023079"/>
                  <a:gd name="connsiteX8" fmla="*/ 528403 w 629587"/>
                  <a:gd name="connsiteY8" fmla="*/ 168639 h 1023079"/>
                  <a:gd name="connsiteX9" fmla="*/ 490928 w 629587"/>
                  <a:gd name="connsiteY9" fmla="*/ 146154 h 1023079"/>
                  <a:gd name="connsiteX10" fmla="*/ 449705 w 629587"/>
                  <a:gd name="connsiteY10" fmla="*/ 146154 h 1023079"/>
                  <a:gd name="connsiteX11" fmla="*/ 412230 w 629587"/>
                  <a:gd name="connsiteY11" fmla="*/ 153649 h 1023079"/>
                  <a:gd name="connsiteX12" fmla="*/ 464695 w 629587"/>
                  <a:gd name="connsiteY12" fmla="*/ 127417 h 1023079"/>
                  <a:gd name="connsiteX13" fmla="*/ 442210 w 629587"/>
                  <a:gd name="connsiteY13" fmla="*/ 116174 h 1023079"/>
                  <a:gd name="connsiteX14" fmla="*/ 483433 w 629587"/>
                  <a:gd name="connsiteY14" fmla="*/ 86194 h 1023079"/>
                  <a:gd name="connsiteX15" fmla="*/ 532151 w 629587"/>
                  <a:gd name="connsiteY15" fmla="*/ 86194 h 1023079"/>
                  <a:gd name="connsiteX16" fmla="*/ 535899 w 629587"/>
                  <a:gd name="connsiteY16" fmla="*/ 48718 h 1023079"/>
                  <a:gd name="connsiteX17" fmla="*/ 479685 w 629587"/>
                  <a:gd name="connsiteY17" fmla="*/ 41223 h 1023079"/>
                  <a:gd name="connsiteX18" fmla="*/ 445958 w 629587"/>
                  <a:gd name="connsiteY18" fmla="*/ 41223 h 1023079"/>
                  <a:gd name="connsiteX19" fmla="*/ 445958 w 629587"/>
                  <a:gd name="connsiteY19" fmla="*/ 41223 h 1023079"/>
                  <a:gd name="connsiteX20" fmla="*/ 397240 w 629587"/>
                  <a:gd name="connsiteY20" fmla="*/ 0 h 1023079"/>
                  <a:gd name="connsiteX21" fmla="*/ 363512 w 629587"/>
                  <a:gd name="connsiteY21" fmla="*/ 56213 h 1023079"/>
                  <a:gd name="connsiteX22" fmla="*/ 382249 w 629587"/>
                  <a:gd name="connsiteY22" fmla="*/ 101184 h 1023079"/>
                  <a:gd name="connsiteX23" fmla="*/ 344774 w 629587"/>
                  <a:gd name="connsiteY23" fmla="*/ 82446 h 1023079"/>
                  <a:gd name="connsiteX24" fmla="*/ 307299 w 629587"/>
                  <a:gd name="connsiteY24" fmla="*/ 108679 h 1023079"/>
                  <a:gd name="connsiteX25" fmla="*/ 303551 w 629587"/>
                  <a:gd name="connsiteY25" fmla="*/ 142407 h 1023079"/>
                  <a:gd name="connsiteX26" fmla="*/ 337279 w 629587"/>
                  <a:gd name="connsiteY26" fmla="*/ 142407 h 1023079"/>
                  <a:gd name="connsiteX27" fmla="*/ 292308 w 629587"/>
                  <a:gd name="connsiteY27" fmla="*/ 179882 h 1023079"/>
                  <a:gd name="connsiteX28" fmla="*/ 239843 w 629587"/>
                  <a:gd name="connsiteY28" fmla="*/ 213610 h 1023079"/>
                  <a:gd name="connsiteX29" fmla="*/ 247338 w 629587"/>
                  <a:gd name="connsiteY29" fmla="*/ 251085 h 1023079"/>
                  <a:gd name="connsiteX30" fmla="*/ 277318 w 629587"/>
                  <a:gd name="connsiteY30" fmla="*/ 258580 h 1023079"/>
                  <a:gd name="connsiteX31" fmla="*/ 318541 w 629587"/>
                  <a:gd name="connsiteY31" fmla="*/ 209862 h 1023079"/>
                  <a:gd name="connsiteX32" fmla="*/ 288561 w 629587"/>
                  <a:gd name="connsiteY32" fmla="*/ 266076 h 1023079"/>
                  <a:gd name="connsiteX33" fmla="*/ 254833 w 629587"/>
                  <a:gd name="connsiteY33" fmla="*/ 288561 h 1023079"/>
                  <a:gd name="connsiteX34" fmla="*/ 221105 w 629587"/>
                  <a:gd name="connsiteY34" fmla="*/ 371007 h 1023079"/>
                  <a:gd name="connsiteX35" fmla="*/ 247338 w 629587"/>
                  <a:gd name="connsiteY35" fmla="*/ 389744 h 1023079"/>
                  <a:gd name="connsiteX36" fmla="*/ 296056 w 629587"/>
                  <a:gd name="connsiteY36" fmla="*/ 284813 h 1023079"/>
                  <a:gd name="connsiteX37" fmla="*/ 296056 w 629587"/>
                  <a:gd name="connsiteY37" fmla="*/ 284813 h 1023079"/>
                  <a:gd name="connsiteX38" fmla="*/ 292308 w 629587"/>
                  <a:gd name="connsiteY38" fmla="*/ 341026 h 1023079"/>
                  <a:gd name="connsiteX39" fmla="*/ 307299 w 629587"/>
                  <a:gd name="connsiteY39" fmla="*/ 393492 h 1023079"/>
                  <a:gd name="connsiteX40" fmla="*/ 247338 w 629587"/>
                  <a:gd name="connsiteY40" fmla="*/ 434715 h 1023079"/>
                  <a:gd name="connsiteX41" fmla="*/ 247338 w 629587"/>
                  <a:gd name="connsiteY41" fmla="*/ 468443 h 1023079"/>
                  <a:gd name="connsiteX42" fmla="*/ 277318 w 629587"/>
                  <a:gd name="connsiteY42" fmla="*/ 445957 h 1023079"/>
                  <a:gd name="connsiteX43" fmla="*/ 292308 w 629587"/>
                  <a:gd name="connsiteY43" fmla="*/ 468443 h 1023079"/>
                  <a:gd name="connsiteX44" fmla="*/ 337279 w 629587"/>
                  <a:gd name="connsiteY44" fmla="*/ 449705 h 1023079"/>
                  <a:gd name="connsiteX45" fmla="*/ 385997 w 629587"/>
                  <a:gd name="connsiteY45" fmla="*/ 468443 h 1023079"/>
                  <a:gd name="connsiteX46" fmla="*/ 344774 w 629587"/>
                  <a:gd name="connsiteY46" fmla="*/ 494676 h 1023079"/>
                  <a:gd name="connsiteX47" fmla="*/ 322289 w 629587"/>
                  <a:gd name="connsiteY47" fmla="*/ 532151 h 1023079"/>
                  <a:gd name="connsiteX48" fmla="*/ 337279 w 629587"/>
                  <a:gd name="connsiteY48" fmla="*/ 569626 h 1023079"/>
                  <a:gd name="connsiteX49" fmla="*/ 363512 w 629587"/>
                  <a:gd name="connsiteY49" fmla="*/ 554636 h 1023079"/>
                  <a:gd name="connsiteX50" fmla="*/ 363512 w 629587"/>
                  <a:gd name="connsiteY50" fmla="*/ 554636 h 1023079"/>
                  <a:gd name="connsiteX51" fmla="*/ 333531 w 629587"/>
                  <a:gd name="connsiteY51" fmla="*/ 588364 h 1023079"/>
                  <a:gd name="connsiteX52" fmla="*/ 333531 w 629587"/>
                  <a:gd name="connsiteY52" fmla="*/ 648325 h 1023079"/>
                  <a:gd name="connsiteX53" fmla="*/ 307299 w 629587"/>
                  <a:gd name="connsiteY53" fmla="*/ 667062 h 1023079"/>
                  <a:gd name="connsiteX54" fmla="*/ 277318 w 629587"/>
                  <a:gd name="connsiteY54" fmla="*/ 640830 h 1023079"/>
                  <a:gd name="connsiteX55" fmla="*/ 228600 w 629587"/>
                  <a:gd name="connsiteY55" fmla="*/ 637082 h 1023079"/>
                  <a:gd name="connsiteX56" fmla="*/ 217358 w 629587"/>
                  <a:gd name="connsiteY56" fmla="*/ 659567 h 1023079"/>
                  <a:gd name="connsiteX57" fmla="*/ 179882 w 629587"/>
                  <a:gd name="connsiteY57" fmla="*/ 682053 h 1023079"/>
                  <a:gd name="connsiteX58" fmla="*/ 179882 w 629587"/>
                  <a:gd name="connsiteY58" fmla="*/ 682053 h 1023079"/>
                  <a:gd name="connsiteX59" fmla="*/ 224853 w 629587"/>
                  <a:gd name="connsiteY59" fmla="*/ 682053 h 1023079"/>
                  <a:gd name="connsiteX60" fmla="*/ 224853 w 629587"/>
                  <a:gd name="connsiteY60" fmla="*/ 682053 h 1023079"/>
                  <a:gd name="connsiteX61" fmla="*/ 221105 w 629587"/>
                  <a:gd name="connsiteY61" fmla="*/ 753256 h 1023079"/>
                  <a:gd name="connsiteX62" fmla="*/ 194872 w 629587"/>
                  <a:gd name="connsiteY62" fmla="*/ 768246 h 1023079"/>
                  <a:gd name="connsiteX63" fmla="*/ 161144 w 629587"/>
                  <a:gd name="connsiteY63" fmla="*/ 760751 h 1023079"/>
                  <a:gd name="connsiteX64" fmla="*/ 161144 w 629587"/>
                  <a:gd name="connsiteY64" fmla="*/ 760751 h 1023079"/>
                  <a:gd name="connsiteX65" fmla="*/ 104931 w 629587"/>
                  <a:gd name="connsiteY65" fmla="*/ 757003 h 1023079"/>
                  <a:gd name="connsiteX66" fmla="*/ 119922 w 629587"/>
                  <a:gd name="connsiteY66" fmla="*/ 801974 h 1023079"/>
                  <a:gd name="connsiteX67" fmla="*/ 168640 w 629587"/>
                  <a:gd name="connsiteY67" fmla="*/ 828207 h 1023079"/>
                  <a:gd name="connsiteX68" fmla="*/ 209862 w 629587"/>
                  <a:gd name="connsiteY68" fmla="*/ 865682 h 1023079"/>
                  <a:gd name="connsiteX69" fmla="*/ 296056 w 629587"/>
                  <a:gd name="connsiteY69" fmla="*/ 854439 h 1023079"/>
                  <a:gd name="connsiteX70" fmla="*/ 243590 w 629587"/>
                  <a:gd name="connsiteY70" fmla="*/ 888167 h 1023079"/>
                  <a:gd name="connsiteX71" fmla="*/ 243590 w 629587"/>
                  <a:gd name="connsiteY71" fmla="*/ 906905 h 1023079"/>
                  <a:gd name="connsiteX72" fmla="*/ 172387 w 629587"/>
                  <a:gd name="connsiteY72" fmla="*/ 876925 h 1023079"/>
                  <a:gd name="connsiteX73" fmla="*/ 134912 w 629587"/>
                  <a:gd name="connsiteY73" fmla="*/ 888167 h 1023079"/>
                  <a:gd name="connsiteX74" fmla="*/ 59961 w 629587"/>
                  <a:gd name="connsiteY74" fmla="*/ 940633 h 1023079"/>
                  <a:gd name="connsiteX75" fmla="*/ 0 w 629587"/>
                  <a:gd name="connsiteY75" fmla="*/ 959371 h 1023079"/>
                  <a:gd name="connsiteX76" fmla="*/ 29981 w 629587"/>
                  <a:gd name="connsiteY76" fmla="*/ 993098 h 1023079"/>
                  <a:gd name="connsiteX77" fmla="*/ 97436 w 629587"/>
                  <a:gd name="connsiteY77" fmla="*/ 963118 h 1023079"/>
                  <a:gd name="connsiteX78" fmla="*/ 149902 w 629587"/>
                  <a:gd name="connsiteY78" fmla="*/ 996846 h 1023079"/>
                  <a:gd name="connsiteX79" fmla="*/ 198620 w 629587"/>
                  <a:gd name="connsiteY79" fmla="*/ 985603 h 1023079"/>
                  <a:gd name="connsiteX80" fmla="*/ 206115 w 629587"/>
                  <a:gd name="connsiteY80" fmla="*/ 955623 h 1023079"/>
                  <a:gd name="connsiteX81" fmla="*/ 258581 w 629587"/>
                  <a:gd name="connsiteY81" fmla="*/ 978108 h 1023079"/>
                  <a:gd name="connsiteX82" fmla="*/ 258581 w 629587"/>
                  <a:gd name="connsiteY82" fmla="*/ 978108 h 1023079"/>
                  <a:gd name="connsiteX83" fmla="*/ 460948 w 629587"/>
                  <a:gd name="connsiteY83" fmla="*/ 1015584 h 1023079"/>
                  <a:gd name="connsiteX84" fmla="*/ 520908 w 629587"/>
                  <a:gd name="connsiteY84" fmla="*/ 1023079 h 1023079"/>
                  <a:gd name="connsiteX85" fmla="*/ 550889 w 629587"/>
                  <a:gd name="connsiteY85" fmla="*/ 1000594 h 1023079"/>
                  <a:gd name="connsiteX86" fmla="*/ 550889 w 629587"/>
                  <a:gd name="connsiteY86" fmla="*/ 1000594 h 1023079"/>
                  <a:gd name="connsiteX87" fmla="*/ 535899 w 629587"/>
                  <a:gd name="connsiteY87" fmla="*/ 966866 h 1023079"/>
                  <a:gd name="connsiteX88" fmla="*/ 502171 w 629587"/>
                  <a:gd name="connsiteY88" fmla="*/ 936885 h 1023079"/>
                  <a:gd name="connsiteX89" fmla="*/ 554636 w 629587"/>
                  <a:gd name="connsiteY89" fmla="*/ 921895 h 1023079"/>
                  <a:gd name="connsiteX90" fmla="*/ 588364 w 629587"/>
                  <a:gd name="connsiteY90" fmla="*/ 906905 h 1023079"/>
                  <a:gd name="connsiteX91" fmla="*/ 629587 w 629587"/>
                  <a:gd name="connsiteY91" fmla="*/ 828207 h 1023079"/>
                  <a:gd name="connsiteX92" fmla="*/ 607102 w 629587"/>
                  <a:gd name="connsiteY92" fmla="*/ 786984 h 1023079"/>
                  <a:gd name="connsiteX93" fmla="*/ 569626 w 629587"/>
                  <a:gd name="connsiteY93" fmla="*/ 771994 h 1023079"/>
                  <a:gd name="connsiteX94" fmla="*/ 535899 w 629587"/>
                  <a:gd name="connsiteY94" fmla="*/ 798226 h 1023079"/>
                  <a:gd name="connsiteX95" fmla="*/ 509666 w 629587"/>
                  <a:gd name="connsiteY95" fmla="*/ 775741 h 1023079"/>
                  <a:gd name="connsiteX96" fmla="*/ 543394 w 629587"/>
                  <a:gd name="connsiteY96" fmla="*/ 749508 h 1023079"/>
                  <a:gd name="connsiteX97" fmla="*/ 547141 w 629587"/>
                  <a:gd name="connsiteY97" fmla="*/ 708285 h 1023079"/>
                  <a:gd name="connsiteX98" fmla="*/ 524656 w 629587"/>
                  <a:gd name="connsiteY98" fmla="*/ 682053 h 1023079"/>
                  <a:gd name="connsiteX99" fmla="*/ 524656 w 629587"/>
                  <a:gd name="connsiteY99" fmla="*/ 682053 h 1023079"/>
                  <a:gd name="connsiteX100" fmla="*/ 487181 w 629587"/>
                  <a:gd name="connsiteY100" fmla="*/ 648325 h 1023079"/>
                  <a:gd name="connsiteX101" fmla="*/ 554636 w 629587"/>
                  <a:gd name="connsiteY101" fmla="*/ 689548 h 1023079"/>
                  <a:gd name="connsiteX102" fmla="*/ 543394 w 629587"/>
                  <a:gd name="connsiteY102" fmla="*/ 652072 h 1023079"/>
                  <a:gd name="connsiteX103" fmla="*/ 543394 w 629587"/>
                  <a:gd name="connsiteY103" fmla="*/ 652072 h 1023079"/>
                  <a:gd name="connsiteX104" fmla="*/ 532151 w 629587"/>
                  <a:gd name="connsiteY104" fmla="*/ 565879 h 1023079"/>
                  <a:gd name="connsiteX105" fmla="*/ 494676 w 629587"/>
                  <a:gd name="connsiteY105" fmla="*/ 547141 h 1023079"/>
                  <a:gd name="connsiteX106" fmla="*/ 490928 w 629587"/>
                  <a:gd name="connsiteY106" fmla="*/ 517161 h 1023079"/>
                  <a:gd name="connsiteX107" fmla="*/ 502171 w 629587"/>
                  <a:gd name="connsiteY107" fmla="*/ 438462 h 1023079"/>
                  <a:gd name="connsiteX108" fmla="*/ 479685 w 629587"/>
                  <a:gd name="connsiteY108" fmla="*/ 385997 h 1023079"/>
                  <a:gd name="connsiteX109" fmla="*/ 453453 w 629587"/>
                  <a:gd name="connsiteY109" fmla="*/ 359764 h 1023079"/>
                  <a:gd name="connsiteX110" fmla="*/ 389744 w 629587"/>
                  <a:gd name="connsiteY110" fmla="*/ 322289 h 1023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629587" h="1023079">
                    <a:moveTo>
                      <a:pt x="389744" y="322289"/>
                    </a:moveTo>
                    <a:lnTo>
                      <a:pt x="445958" y="322289"/>
                    </a:lnTo>
                    <a:lnTo>
                      <a:pt x="479685" y="307298"/>
                    </a:lnTo>
                    <a:lnTo>
                      <a:pt x="449705" y="284813"/>
                    </a:lnTo>
                    <a:lnTo>
                      <a:pt x="494676" y="277318"/>
                    </a:lnTo>
                    <a:lnTo>
                      <a:pt x="539646" y="224853"/>
                    </a:lnTo>
                    <a:lnTo>
                      <a:pt x="584617" y="202367"/>
                    </a:lnTo>
                    <a:lnTo>
                      <a:pt x="584617" y="179882"/>
                    </a:lnTo>
                    <a:lnTo>
                      <a:pt x="528403" y="168639"/>
                    </a:lnTo>
                    <a:lnTo>
                      <a:pt x="490928" y="146154"/>
                    </a:lnTo>
                    <a:lnTo>
                      <a:pt x="449705" y="146154"/>
                    </a:lnTo>
                    <a:lnTo>
                      <a:pt x="412230" y="153649"/>
                    </a:lnTo>
                    <a:lnTo>
                      <a:pt x="464695" y="127417"/>
                    </a:lnTo>
                    <a:lnTo>
                      <a:pt x="442210" y="116174"/>
                    </a:lnTo>
                    <a:lnTo>
                      <a:pt x="483433" y="86194"/>
                    </a:lnTo>
                    <a:lnTo>
                      <a:pt x="532151" y="86194"/>
                    </a:lnTo>
                    <a:lnTo>
                      <a:pt x="535899" y="48718"/>
                    </a:lnTo>
                    <a:lnTo>
                      <a:pt x="479685" y="41223"/>
                    </a:lnTo>
                    <a:lnTo>
                      <a:pt x="445958" y="41223"/>
                    </a:lnTo>
                    <a:lnTo>
                      <a:pt x="445958" y="41223"/>
                    </a:lnTo>
                    <a:lnTo>
                      <a:pt x="397240" y="0"/>
                    </a:lnTo>
                    <a:lnTo>
                      <a:pt x="363512" y="56213"/>
                    </a:lnTo>
                    <a:lnTo>
                      <a:pt x="382249" y="101184"/>
                    </a:lnTo>
                    <a:lnTo>
                      <a:pt x="344774" y="82446"/>
                    </a:lnTo>
                    <a:lnTo>
                      <a:pt x="307299" y="108679"/>
                    </a:lnTo>
                    <a:lnTo>
                      <a:pt x="303551" y="142407"/>
                    </a:lnTo>
                    <a:lnTo>
                      <a:pt x="337279" y="142407"/>
                    </a:lnTo>
                    <a:lnTo>
                      <a:pt x="292308" y="179882"/>
                    </a:lnTo>
                    <a:lnTo>
                      <a:pt x="239843" y="213610"/>
                    </a:lnTo>
                    <a:lnTo>
                      <a:pt x="247338" y="251085"/>
                    </a:lnTo>
                    <a:lnTo>
                      <a:pt x="277318" y="258580"/>
                    </a:lnTo>
                    <a:lnTo>
                      <a:pt x="318541" y="209862"/>
                    </a:lnTo>
                    <a:lnTo>
                      <a:pt x="288561" y="266076"/>
                    </a:lnTo>
                    <a:lnTo>
                      <a:pt x="254833" y="288561"/>
                    </a:lnTo>
                    <a:lnTo>
                      <a:pt x="221105" y="371007"/>
                    </a:lnTo>
                    <a:lnTo>
                      <a:pt x="247338" y="389744"/>
                    </a:lnTo>
                    <a:lnTo>
                      <a:pt x="296056" y="284813"/>
                    </a:lnTo>
                    <a:lnTo>
                      <a:pt x="296056" y="284813"/>
                    </a:lnTo>
                    <a:lnTo>
                      <a:pt x="292308" y="341026"/>
                    </a:lnTo>
                    <a:lnTo>
                      <a:pt x="307299" y="393492"/>
                    </a:lnTo>
                    <a:lnTo>
                      <a:pt x="247338" y="434715"/>
                    </a:lnTo>
                    <a:lnTo>
                      <a:pt x="247338" y="468443"/>
                    </a:lnTo>
                    <a:lnTo>
                      <a:pt x="277318" y="445957"/>
                    </a:lnTo>
                    <a:lnTo>
                      <a:pt x="292308" y="468443"/>
                    </a:lnTo>
                    <a:lnTo>
                      <a:pt x="337279" y="449705"/>
                    </a:lnTo>
                    <a:lnTo>
                      <a:pt x="385997" y="468443"/>
                    </a:lnTo>
                    <a:lnTo>
                      <a:pt x="344774" y="494676"/>
                    </a:lnTo>
                    <a:lnTo>
                      <a:pt x="322289" y="532151"/>
                    </a:lnTo>
                    <a:lnTo>
                      <a:pt x="337279" y="569626"/>
                    </a:lnTo>
                    <a:lnTo>
                      <a:pt x="363512" y="554636"/>
                    </a:lnTo>
                    <a:lnTo>
                      <a:pt x="363512" y="554636"/>
                    </a:lnTo>
                    <a:lnTo>
                      <a:pt x="333531" y="588364"/>
                    </a:lnTo>
                    <a:lnTo>
                      <a:pt x="333531" y="648325"/>
                    </a:lnTo>
                    <a:lnTo>
                      <a:pt x="307299" y="667062"/>
                    </a:lnTo>
                    <a:lnTo>
                      <a:pt x="277318" y="640830"/>
                    </a:lnTo>
                    <a:lnTo>
                      <a:pt x="228600" y="637082"/>
                    </a:lnTo>
                    <a:lnTo>
                      <a:pt x="217358" y="659567"/>
                    </a:lnTo>
                    <a:lnTo>
                      <a:pt x="179882" y="682053"/>
                    </a:lnTo>
                    <a:lnTo>
                      <a:pt x="179882" y="682053"/>
                    </a:lnTo>
                    <a:lnTo>
                      <a:pt x="224853" y="682053"/>
                    </a:lnTo>
                    <a:lnTo>
                      <a:pt x="224853" y="682053"/>
                    </a:lnTo>
                    <a:lnTo>
                      <a:pt x="221105" y="753256"/>
                    </a:lnTo>
                    <a:lnTo>
                      <a:pt x="194872" y="768246"/>
                    </a:lnTo>
                    <a:lnTo>
                      <a:pt x="161144" y="760751"/>
                    </a:lnTo>
                    <a:lnTo>
                      <a:pt x="161144" y="760751"/>
                    </a:lnTo>
                    <a:lnTo>
                      <a:pt x="104931" y="757003"/>
                    </a:lnTo>
                    <a:lnTo>
                      <a:pt x="119922" y="801974"/>
                    </a:lnTo>
                    <a:lnTo>
                      <a:pt x="168640" y="828207"/>
                    </a:lnTo>
                    <a:lnTo>
                      <a:pt x="209862" y="865682"/>
                    </a:lnTo>
                    <a:lnTo>
                      <a:pt x="296056" y="854439"/>
                    </a:lnTo>
                    <a:lnTo>
                      <a:pt x="243590" y="888167"/>
                    </a:lnTo>
                    <a:lnTo>
                      <a:pt x="243590" y="906905"/>
                    </a:lnTo>
                    <a:lnTo>
                      <a:pt x="172387" y="876925"/>
                    </a:lnTo>
                    <a:lnTo>
                      <a:pt x="134912" y="888167"/>
                    </a:lnTo>
                    <a:lnTo>
                      <a:pt x="59961" y="940633"/>
                    </a:lnTo>
                    <a:lnTo>
                      <a:pt x="0" y="959371"/>
                    </a:lnTo>
                    <a:lnTo>
                      <a:pt x="29981" y="993098"/>
                    </a:lnTo>
                    <a:lnTo>
                      <a:pt x="97436" y="963118"/>
                    </a:lnTo>
                    <a:lnTo>
                      <a:pt x="149902" y="996846"/>
                    </a:lnTo>
                    <a:lnTo>
                      <a:pt x="198620" y="985603"/>
                    </a:lnTo>
                    <a:lnTo>
                      <a:pt x="206115" y="955623"/>
                    </a:lnTo>
                    <a:lnTo>
                      <a:pt x="258581" y="978108"/>
                    </a:lnTo>
                    <a:lnTo>
                      <a:pt x="258581" y="978108"/>
                    </a:lnTo>
                    <a:lnTo>
                      <a:pt x="460948" y="1015584"/>
                    </a:lnTo>
                    <a:lnTo>
                      <a:pt x="520908" y="1023079"/>
                    </a:lnTo>
                    <a:lnTo>
                      <a:pt x="550889" y="1000594"/>
                    </a:lnTo>
                    <a:lnTo>
                      <a:pt x="550889" y="1000594"/>
                    </a:lnTo>
                    <a:lnTo>
                      <a:pt x="535899" y="966866"/>
                    </a:lnTo>
                    <a:lnTo>
                      <a:pt x="502171" y="936885"/>
                    </a:lnTo>
                    <a:lnTo>
                      <a:pt x="554636" y="921895"/>
                    </a:lnTo>
                    <a:lnTo>
                      <a:pt x="588364" y="906905"/>
                    </a:lnTo>
                    <a:lnTo>
                      <a:pt x="629587" y="828207"/>
                    </a:lnTo>
                    <a:lnTo>
                      <a:pt x="607102" y="786984"/>
                    </a:lnTo>
                    <a:lnTo>
                      <a:pt x="569626" y="771994"/>
                    </a:lnTo>
                    <a:lnTo>
                      <a:pt x="535899" y="798226"/>
                    </a:lnTo>
                    <a:lnTo>
                      <a:pt x="509666" y="775741"/>
                    </a:lnTo>
                    <a:lnTo>
                      <a:pt x="543394" y="749508"/>
                    </a:lnTo>
                    <a:lnTo>
                      <a:pt x="547141" y="708285"/>
                    </a:lnTo>
                    <a:lnTo>
                      <a:pt x="524656" y="682053"/>
                    </a:lnTo>
                    <a:lnTo>
                      <a:pt x="524656" y="682053"/>
                    </a:lnTo>
                    <a:lnTo>
                      <a:pt x="487181" y="648325"/>
                    </a:lnTo>
                    <a:lnTo>
                      <a:pt x="554636" y="689548"/>
                    </a:lnTo>
                    <a:lnTo>
                      <a:pt x="543394" y="652072"/>
                    </a:lnTo>
                    <a:lnTo>
                      <a:pt x="543394" y="652072"/>
                    </a:lnTo>
                    <a:lnTo>
                      <a:pt x="532151" y="565879"/>
                    </a:lnTo>
                    <a:lnTo>
                      <a:pt x="494676" y="547141"/>
                    </a:lnTo>
                    <a:lnTo>
                      <a:pt x="490928" y="517161"/>
                    </a:lnTo>
                    <a:lnTo>
                      <a:pt x="502171" y="438462"/>
                    </a:lnTo>
                    <a:lnTo>
                      <a:pt x="479685" y="385997"/>
                    </a:lnTo>
                    <a:lnTo>
                      <a:pt x="453453" y="359764"/>
                    </a:lnTo>
                    <a:lnTo>
                      <a:pt x="389744" y="322289"/>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9" name="Friform 21"/>
              <p:cNvSpPr/>
              <p:nvPr/>
            </p:nvSpPr>
            <p:spPr bwMode="auto">
              <a:xfrm rot="20376583">
                <a:off x="3934947" y="2051473"/>
                <a:ext cx="98936" cy="87856"/>
              </a:xfrm>
              <a:custGeom>
                <a:avLst/>
                <a:gdLst>
                  <a:gd name="connsiteX0" fmla="*/ 365760 w 448235"/>
                  <a:gd name="connsiteY0" fmla="*/ 197224 h 398033"/>
                  <a:gd name="connsiteX1" fmla="*/ 419548 w 448235"/>
                  <a:gd name="connsiteY1" fmla="*/ 172123 h 398033"/>
                  <a:gd name="connsiteX2" fmla="*/ 448235 w 448235"/>
                  <a:gd name="connsiteY2" fmla="*/ 136264 h 398033"/>
                  <a:gd name="connsiteX3" fmla="*/ 441063 w 448235"/>
                  <a:gd name="connsiteY3" fmla="*/ 89647 h 398033"/>
                  <a:gd name="connsiteX4" fmla="*/ 441063 w 448235"/>
                  <a:gd name="connsiteY4" fmla="*/ 53789 h 398033"/>
                  <a:gd name="connsiteX5" fmla="*/ 405204 w 448235"/>
                  <a:gd name="connsiteY5" fmla="*/ 35859 h 398033"/>
                  <a:gd name="connsiteX6" fmla="*/ 362174 w 448235"/>
                  <a:gd name="connsiteY6" fmla="*/ 50203 h 398033"/>
                  <a:gd name="connsiteX7" fmla="*/ 362174 w 448235"/>
                  <a:gd name="connsiteY7" fmla="*/ 50203 h 398033"/>
                  <a:gd name="connsiteX8" fmla="*/ 380103 w 448235"/>
                  <a:gd name="connsiteY8" fmla="*/ 17930 h 398033"/>
                  <a:gd name="connsiteX9" fmla="*/ 358588 w 448235"/>
                  <a:gd name="connsiteY9" fmla="*/ 7172 h 398033"/>
                  <a:gd name="connsiteX10" fmla="*/ 358588 w 448235"/>
                  <a:gd name="connsiteY10" fmla="*/ 7172 h 398033"/>
                  <a:gd name="connsiteX11" fmla="*/ 304800 w 448235"/>
                  <a:gd name="connsiteY11" fmla="*/ 0 h 398033"/>
                  <a:gd name="connsiteX12" fmla="*/ 243840 w 448235"/>
                  <a:gd name="connsiteY12" fmla="*/ 39445 h 398033"/>
                  <a:gd name="connsiteX13" fmla="*/ 243840 w 448235"/>
                  <a:gd name="connsiteY13" fmla="*/ 39445 h 398033"/>
                  <a:gd name="connsiteX14" fmla="*/ 279699 w 448235"/>
                  <a:gd name="connsiteY14" fmla="*/ 78890 h 398033"/>
                  <a:gd name="connsiteX15" fmla="*/ 251012 w 448235"/>
                  <a:gd name="connsiteY15" fmla="*/ 93233 h 398033"/>
                  <a:gd name="connsiteX16" fmla="*/ 251012 w 448235"/>
                  <a:gd name="connsiteY16" fmla="*/ 93233 h 398033"/>
                  <a:gd name="connsiteX17" fmla="*/ 197223 w 448235"/>
                  <a:gd name="connsiteY17" fmla="*/ 82476 h 398033"/>
                  <a:gd name="connsiteX18" fmla="*/ 197223 w 448235"/>
                  <a:gd name="connsiteY18" fmla="*/ 82476 h 398033"/>
                  <a:gd name="connsiteX19" fmla="*/ 150607 w 448235"/>
                  <a:gd name="connsiteY19" fmla="*/ 46617 h 398033"/>
                  <a:gd name="connsiteX20" fmla="*/ 107576 w 448235"/>
                  <a:gd name="connsiteY20" fmla="*/ 89647 h 398033"/>
                  <a:gd name="connsiteX21" fmla="*/ 143435 w 448235"/>
                  <a:gd name="connsiteY21" fmla="*/ 121920 h 398033"/>
                  <a:gd name="connsiteX22" fmla="*/ 143435 w 448235"/>
                  <a:gd name="connsiteY22" fmla="*/ 121920 h 398033"/>
                  <a:gd name="connsiteX23" fmla="*/ 100404 w 448235"/>
                  <a:gd name="connsiteY23" fmla="*/ 129092 h 398033"/>
                  <a:gd name="connsiteX24" fmla="*/ 89647 w 448235"/>
                  <a:gd name="connsiteY24" fmla="*/ 157779 h 398033"/>
                  <a:gd name="connsiteX25" fmla="*/ 150607 w 448235"/>
                  <a:gd name="connsiteY25" fmla="*/ 200810 h 398033"/>
                  <a:gd name="connsiteX26" fmla="*/ 150607 w 448235"/>
                  <a:gd name="connsiteY26" fmla="*/ 200810 h 398033"/>
                  <a:gd name="connsiteX27" fmla="*/ 132677 w 448235"/>
                  <a:gd name="connsiteY27" fmla="*/ 207981 h 398033"/>
                  <a:gd name="connsiteX28" fmla="*/ 89647 w 448235"/>
                  <a:gd name="connsiteY28" fmla="*/ 247426 h 398033"/>
                  <a:gd name="connsiteX29" fmla="*/ 57374 w 448235"/>
                  <a:gd name="connsiteY29" fmla="*/ 240254 h 398033"/>
                  <a:gd name="connsiteX30" fmla="*/ 96819 w 448235"/>
                  <a:gd name="connsiteY30" fmla="*/ 261770 h 398033"/>
                  <a:gd name="connsiteX31" fmla="*/ 143435 w 448235"/>
                  <a:gd name="connsiteY31" fmla="*/ 261770 h 398033"/>
                  <a:gd name="connsiteX32" fmla="*/ 143435 w 448235"/>
                  <a:gd name="connsiteY32" fmla="*/ 261770 h 398033"/>
                  <a:gd name="connsiteX33" fmla="*/ 75303 w 448235"/>
                  <a:gd name="connsiteY33" fmla="*/ 276113 h 398033"/>
                  <a:gd name="connsiteX34" fmla="*/ 43030 w 448235"/>
                  <a:gd name="connsiteY34" fmla="*/ 272527 h 398033"/>
                  <a:gd name="connsiteX35" fmla="*/ 10757 w 448235"/>
                  <a:gd name="connsiteY35" fmla="*/ 283285 h 398033"/>
                  <a:gd name="connsiteX36" fmla="*/ 7172 w 448235"/>
                  <a:gd name="connsiteY36" fmla="*/ 297629 h 398033"/>
                  <a:gd name="connsiteX37" fmla="*/ 57374 w 448235"/>
                  <a:gd name="connsiteY37" fmla="*/ 308386 h 398033"/>
                  <a:gd name="connsiteX38" fmla="*/ 3586 w 448235"/>
                  <a:gd name="connsiteY38" fmla="*/ 315558 h 398033"/>
                  <a:gd name="connsiteX39" fmla="*/ 0 w 448235"/>
                  <a:gd name="connsiteY39" fmla="*/ 340659 h 398033"/>
                  <a:gd name="connsiteX40" fmla="*/ 64546 w 448235"/>
                  <a:gd name="connsiteY40" fmla="*/ 337073 h 398033"/>
                  <a:gd name="connsiteX41" fmla="*/ 7172 w 448235"/>
                  <a:gd name="connsiteY41" fmla="*/ 355003 h 398033"/>
                  <a:gd name="connsiteX42" fmla="*/ 10757 w 448235"/>
                  <a:gd name="connsiteY42" fmla="*/ 376518 h 398033"/>
                  <a:gd name="connsiteX43" fmla="*/ 64546 w 448235"/>
                  <a:gd name="connsiteY43" fmla="*/ 365760 h 398033"/>
                  <a:gd name="connsiteX44" fmla="*/ 57374 w 448235"/>
                  <a:gd name="connsiteY44" fmla="*/ 398033 h 398033"/>
                  <a:gd name="connsiteX45" fmla="*/ 125506 w 448235"/>
                  <a:gd name="connsiteY45" fmla="*/ 394447 h 398033"/>
                  <a:gd name="connsiteX46" fmla="*/ 200809 w 448235"/>
                  <a:gd name="connsiteY46" fmla="*/ 372932 h 398033"/>
                  <a:gd name="connsiteX47" fmla="*/ 247426 w 448235"/>
                  <a:gd name="connsiteY47" fmla="*/ 383690 h 398033"/>
                  <a:gd name="connsiteX48" fmla="*/ 297628 w 448235"/>
                  <a:gd name="connsiteY48" fmla="*/ 398033 h 398033"/>
                  <a:gd name="connsiteX49" fmla="*/ 304800 w 448235"/>
                  <a:gd name="connsiteY49" fmla="*/ 358589 h 398033"/>
                  <a:gd name="connsiteX50" fmla="*/ 333487 w 448235"/>
                  <a:gd name="connsiteY50" fmla="*/ 319144 h 398033"/>
                  <a:gd name="connsiteX51" fmla="*/ 358588 w 448235"/>
                  <a:gd name="connsiteY51" fmla="*/ 251012 h 398033"/>
                  <a:gd name="connsiteX52" fmla="*/ 365760 w 448235"/>
                  <a:gd name="connsiteY52" fmla="*/ 197224 h 39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48235" h="398033">
                    <a:moveTo>
                      <a:pt x="365760" y="197224"/>
                    </a:moveTo>
                    <a:lnTo>
                      <a:pt x="419548" y="172123"/>
                    </a:lnTo>
                    <a:lnTo>
                      <a:pt x="448235" y="136264"/>
                    </a:lnTo>
                    <a:lnTo>
                      <a:pt x="441063" y="89647"/>
                    </a:lnTo>
                    <a:lnTo>
                      <a:pt x="441063" y="53789"/>
                    </a:lnTo>
                    <a:lnTo>
                      <a:pt x="405204" y="35859"/>
                    </a:lnTo>
                    <a:lnTo>
                      <a:pt x="362174" y="50203"/>
                    </a:lnTo>
                    <a:lnTo>
                      <a:pt x="362174" y="50203"/>
                    </a:lnTo>
                    <a:lnTo>
                      <a:pt x="380103" y="17930"/>
                    </a:lnTo>
                    <a:lnTo>
                      <a:pt x="358588" y="7172"/>
                    </a:lnTo>
                    <a:lnTo>
                      <a:pt x="358588" y="7172"/>
                    </a:lnTo>
                    <a:lnTo>
                      <a:pt x="304800" y="0"/>
                    </a:lnTo>
                    <a:lnTo>
                      <a:pt x="243840" y="39445"/>
                    </a:lnTo>
                    <a:lnTo>
                      <a:pt x="243840" y="39445"/>
                    </a:lnTo>
                    <a:lnTo>
                      <a:pt x="279699" y="78890"/>
                    </a:lnTo>
                    <a:lnTo>
                      <a:pt x="251012" y="93233"/>
                    </a:lnTo>
                    <a:lnTo>
                      <a:pt x="251012" y="93233"/>
                    </a:lnTo>
                    <a:lnTo>
                      <a:pt x="197223" y="82476"/>
                    </a:lnTo>
                    <a:lnTo>
                      <a:pt x="197223" y="82476"/>
                    </a:lnTo>
                    <a:lnTo>
                      <a:pt x="150607" y="46617"/>
                    </a:lnTo>
                    <a:lnTo>
                      <a:pt x="107576" y="89647"/>
                    </a:lnTo>
                    <a:lnTo>
                      <a:pt x="143435" y="121920"/>
                    </a:lnTo>
                    <a:lnTo>
                      <a:pt x="143435" y="121920"/>
                    </a:lnTo>
                    <a:lnTo>
                      <a:pt x="100404" y="129092"/>
                    </a:lnTo>
                    <a:lnTo>
                      <a:pt x="89647" y="157779"/>
                    </a:lnTo>
                    <a:lnTo>
                      <a:pt x="150607" y="200810"/>
                    </a:lnTo>
                    <a:lnTo>
                      <a:pt x="150607" y="200810"/>
                    </a:lnTo>
                    <a:lnTo>
                      <a:pt x="132677" y="207981"/>
                    </a:lnTo>
                    <a:lnTo>
                      <a:pt x="89647" y="247426"/>
                    </a:lnTo>
                    <a:lnTo>
                      <a:pt x="57374" y="240254"/>
                    </a:lnTo>
                    <a:lnTo>
                      <a:pt x="96819" y="261770"/>
                    </a:lnTo>
                    <a:lnTo>
                      <a:pt x="143435" y="261770"/>
                    </a:lnTo>
                    <a:lnTo>
                      <a:pt x="143435" y="261770"/>
                    </a:lnTo>
                    <a:lnTo>
                      <a:pt x="75303" y="276113"/>
                    </a:lnTo>
                    <a:lnTo>
                      <a:pt x="43030" y="272527"/>
                    </a:lnTo>
                    <a:lnTo>
                      <a:pt x="10757" y="283285"/>
                    </a:lnTo>
                    <a:lnTo>
                      <a:pt x="7172" y="297629"/>
                    </a:lnTo>
                    <a:lnTo>
                      <a:pt x="57374" y="308386"/>
                    </a:lnTo>
                    <a:lnTo>
                      <a:pt x="3586" y="315558"/>
                    </a:lnTo>
                    <a:lnTo>
                      <a:pt x="0" y="340659"/>
                    </a:lnTo>
                    <a:lnTo>
                      <a:pt x="64546" y="337073"/>
                    </a:lnTo>
                    <a:lnTo>
                      <a:pt x="7172" y="355003"/>
                    </a:lnTo>
                    <a:lnTo>
                      <a:pt x="10757" y="376518"/>
                    </a:lnTo>
                    <a:lnTo>
                      <a:pt x="64546" y="365760"/>
                    </a:lnTo>
                    <a:lnTo>
                      <a:pt x="57374" y="398033"/>
                    </a:lnTo>
                    <a:lnTo>
                      <a:pt x="125506" y="394447"/>
                    </a:lnTo>
                    <a:lnTo>
                      <a:pt x="200809" y="372932"/>
                    </a:lnTo>
                    <a:lnTo>
                      <a:pt x="247426" y="383690"/>
                    </a:lnTo>
                    <a:lnTo>
                      <a:pt x="297628" y="398033"/>
                    </a:lnTo>
                    <a:lnTo>
                      <a:pt x="304800" y="358589"/>
                    </a:lnTo>
                    <a:lnTo>
                      <a:pt x="333487" y="319144"/>
                    </a:lnTo>
                    <a:lnTo>
                      <a:pt x="358588" y="251012"/>
                    </a:lnTo>
                    <a:lnTo>
                      <a:pt x="365760" y="197224"/>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40" name="Friform 22"/>
              <p:cNvSpPr/>
              <p:nvPr/>
            </p:nvSpPr>
            <p:spPr bwMode="auto">
              <a:xfrm>
                <a:off x="4360990" y="2458088"/>
                <a:ext cx="77138" cy="52255"/>
              </a:xfrm>
              <a:custGeom>
                <a:avLst/>
                <a:gdLst>
                  <a:gd name="connsiteX0" fmla="*/ 98425 w 98425"/>
                  <a:gd name="connsiteY0" fmla="*/ 0 h 66675"/>
                  <a:gd name="connsiteX1" fmla="*/ 66675 w 98425"/>
                  <a:gd name="connsiteY1" fmla="*/ 15875 h 66675"/>
                  <a:gd name="connsiteX2" fmla="*/ 22225 w 98425"/>
                  <a:gd name="connsiteY2" fmla="*/ 0 h 66675"/>
                  <a:gd name="connsiteX3" fmla="*/ 0 w 98425"/>
                  <a:gd name="connsiteY3" fmla="*/ 9525 h 66675"/>
                  <a:gd name="connsiteX4" fmla="*/ 53975 w 98425"/>
                  <a:gd name="connsiteY4" fmla="*/ 34925 h 66675"/>
                  <a:gd name="connsiteX5" fmla="*/ 76200 w 98425"/>
                  <a:gd name="connsiteY5" fmla="*/ 66675 h 66675"/>
                  <a:gd name="connsiteX6" fmla="*/ 98425 w 98425"/>
                  <a:gd name="connsiteY6" fmla="*/ 0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425" h="66675">
                    <a:moveTo>
                      <a:pt x="98425" y="0"/>
                    </a:moveTo>
                    <a:lnTo>
                      <a:pt x="66675" y="15875"/>
                    </a:lnTo>
                    <a:lnTo>
                      <a:pt x="22225" y="0"/>
                    </a:lnTo>
                    <a:lnTo>
                      <a:pt x="0" y="9525"/>
                    </a:lnTo>
                    <a:lnTo>
                      <a:pt x="53975" y="34925"/>
                    </a:lnTo>
                    <a:lnTo>
                      <a:pt x="76200" y="66675"/>
                    </a:lnTo>
                    <a:lnTo>
                      <a:pt x="98425"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41" name="Friform 23"/>
              <p:cNvSpPr/>
              <p:nvPr/>
            </p:nvSpPr>
            <p:spPr bwMode="auto">
              <a:xfrm>
                <a:off x="3710674" y="1707654"/>
                <a:ext cx="164501" cy="117256"/>
              </a:xfrm>
              <a:custGeom>
                <a:avLst/>
                <a:gdLst>
                  <a:gd name="connsiteX0" fmla="*/ 77886 w 209896"/>
                  <a:gd name="connsiteY0" fmla="*/ 0 h 149613"/>
                  <a:gd name="connsiteX1" fmla="*/ 91087 w 209896"/>
                  <a:gd name="connsiteY1" fmla="*/ 12916 h 149613"/>
                  <a:gd name="connsiteX2" fmla="*/ 100328 w 209896"/>
                  <a:gd name="connsiteY2" fmla="*/ 25833 h 149613"/>
                  <a:gd name="connsiteX3" fmla="*/ 95047 w 209896"/>
                  <a:gd name="connsiteY3" fmla="*/ 33367 h 149613"/>
                  <a:gd name="connsiteX4" fmla="*/ 79206 w 209896"/>
                  <a:gd name="connsiteY4" fmla="*/ 38749 h 149613"/>
                  <a:gd name="connsiteX5" fmla="*/ 71285 w 209896"/>
                  <a:gd name="connsiteY5" fmla="*/ 55970 h 149613"/>
                  <a:gd name="connsiteX6" fmla="*/ 93727 w 209896"/>
                  <a:gd name="connsiteY6" fmla="*/ 45207 h 149613"/>
                  <a:gd name="connsiteX7" fmla="*/ 93727 w 209896"/>
                  <a:gd name="connsiteY7" fmla="*/ 55970 h 149613"/>
                  <a:gd name="connsiteX8" fmla="*/ 108248 w 209896"/>
                  <a:gd name="connsiteY8" fmla="*/ 35520 h 149613"/>
                  <a:gd name="connsiteX9" fmla="*/ 120129 w 209896"/>
                  <a:gd name="connsiteY9" fmla="*/ 35520 h 149613"/>
                  <a:gd name="connsiteX10" fmla="*/ 110888 w 209896"/>
                  <a:gd name="connsiteY10" fmla="*/ 43054 h 149613"/>
                  <a:gd name="connsiteX11" fmla="*/ 114849 w 209896"/>
                  <a:gd name="connsiteY11" fmla="*/ 55970 h 149613"/>
                  <a:gd name="connsiteX12" fmla="*/ 129370 w 209896"/>
                  <a:gd name="connsiteY12" fmla="*/ 41978 h 149613"/>
                  <a:gd name="connsiteX13" fmla="*/ 145211 w 209896"/>
                  <a:gd name="connsiteY13" fmla="*/ 45207 h 149613"/>
                  <a:gd name="connsiteX14" fmla="*/ 134650 w 209896"/>
                  <a:gd name="connsiteY14" fmla="*/ 55970 h 149613"/>
                  <a:gd name="connsiteX15" fmla="*/ 139931 w 209896"/>
                  <a:gd name="connsiteY15" fmla="*/ 63505 h 149613"/>
                  <a:gd name="connsiteX16" fmla="*/ 150491 w 209896"/>
                  <a:gd name="connsiteY16" fmla="*/ 48436 h 149613"/>
                  <a:gd name="connsiteX17" fmla="*/ 158412 w 209896"/>
                  <a:gd name="connsiteY17" fmla="*/ 65658 h 149613"/>
                  <a:gd name="connsiteX18" fmla="*/ 172933 w 209896"/>
                  <a:gd name="connsiteY18" fmla="*/ 57047 h 149613"/>
                  <a:gd name="connsiteX19" fmla="*/ 175573 w 209896"/>
                  <a:gd name="connsiteY19" fmla="*/ 68887 h 149613"/>
                  <a:gd name="connsiteX20" fmla="*/ 187454 w 209896"/>
                  <a:gd name="connsiteY20" fmla="*/ 47360 h 149613"/>
                  <a:gd name="connsiteX21" fmla="*/ 198015 w 209896"/>
                  <a:gd name="connsiteY21" fmla="*/ 53818 h 149613"/>
                  <a:gd name="connsiteX22" fmla="*/ 195375 w 209896"/>
                  <a:gd name="connsiteY22" fmla="*/ 72116 h 149613"/>
                  <a:gd name="connsiteX23" fmla="*/ 207256 w 209896"/>
                  <a:gd name="connsiteY23" fmla="*/ 85032 h 149613"/>
                  <a:gd name="connsiteX24" fmla="*/ 194055 w 209896"/>
                  <a:gd name="connsiteY24" fmla="*/ 96872 h 149613"/>
                  <a:gd name="connsiteX25" fmla="*/ 207256 w 209896"/>
                  <a:gd name="connsiteY25" fmla="*/ 95795 h 149613"/>
                  <a:gd name="connsiteX26" fmla="*/ 209896 w 209896"/>
                  <a:gd name="connsiteY26" fmla="*/ 111941 h 149613"/>
                  <a:gd name="connsiteX27" fmla="*/ 195375 w 209896"/>
                  <a:gd name="connsiteY27" fmla="*/ 117322 h 149613"/>
                  <a:gd name="connsiteX28" fmla="*/ 207256 w 209896"/>
                  <a:gd name="connsiteY28" fmla="*/ 122704 h 149613"/>
                  <a:gd name="connsiteX29" fmla="*/ 196695 w 209896"/>
                  <a:gd name="connsiteY29" fmla="*/ 136697 h 149613"/>
                  <a:gd name="connsiteX30" fmla="*/ 180854 w 209896"/>
                  <a:gd name="connsiteY30" fmla="*/ 134544 h 149613"/>
                  <a:gd name="connsiteX31" fmla="*/ 176893 w 209896"/>
                  <a:gd name="connsiteY31" fmla="*/ 143155 h 149613"/>
                  <a:gd name="connsiteX32" fmla="*/ 159732 w 209896"/>
                  <a:gd name="connsiteY32" fmla="*/ 148537 h 149613"/>
                  <a:gd name="connsiteX33" fmla="*/ 154452 w 209896"/>
                  <a:gd name="connsiteY33" fmla="*/ 135620 h 149613"/>
                  <a:gd name="connsiteX34" fmla="*/ 149171 w 209896"/>
                  <a:gd name="connsiteY34" fmla="*/ 145308 h 149613"/>
                  <a:gd name="connsiteX35" fmla="*/ 108248 w 209896"/>
                  <a:gd name="connsiteY35" fmla="*/ 149613 h 149613"/>
                  <a:gd name="connsiteX36" fmla="*/ 91087 w 209896"/>
                  <a:gd name="connsiteY36" fmla="*/ 143155 h 149613"/>
                  <a:gd name="connsiteX37" fmla="*/ 73926 w 209896"/>
                  <a:gd name="connsiteY37" fmla="*/ 149613 h 149613"/>
                  <a:gd name="connsiteX38" fmla="*/ 43563 w 209896"/>
                  <a:gd name="connsiteY38" fmla="*/ 134544 h 149613"/>
                  <a:gd name="connsiteX39" fmla="*/ 38283 w 209896"/>
                  <a:gd name="connsiteY39" fmla="*/ 119475 h 149613"/>
                  <a:gd name="connsiteX40" fmla="*/ 34323 w 209896"/>
                  <a:gd name="connsiteY40" fmla="*/ 106559 h 149613"/>
                  <a:gd name="connsiteX41" fmla="*/ 19801 w 209896"/>
                  <a:gd name="connsiteY41" fmla="*/ 106559 h 149613"/>
                  <a:gd name="connsiteX42" fmla="*/ 23762 w 209896"/>
                  <a:gd name="connsiteY42" fmla="*/ 100101 h 149613"/>
                  <a:gd name="connsiteX43" fmla="*/ 0 w 209896"/>
                  <a:gd name="connsiteY43" fmla="*/ 93643 h 149613"/>
                  <a:gd name="connsiteX44" fmla="*/ 2640 w 209896"/>
                  <a:gd name="connsiteY44" fmla="*/ 82879 h 149613"/>
                  <a:gd name="connsiteX45" fmla="*/ 27722 w 209896"/>
                  <a:gd name="connsiteY45" fmla="*/ 88261 h 149613"/>
                  <a:gd name="connsiteX46" fmla="*/ 29042 w 209896"/>
                  <a:gd name="connsiteY46" fmla="*/ 80726 h 149613"/>
                  <a:gd name="connsiteX47" fmla="*/ 44883 w 209896"/>
                  <a:gd name="connsiteY47" fmla="*/ 80726 h 149613"/>
                  <a:gd name="connsiteX48" fmla="*/ 27722 w 209896"/>
                  <a:gd name="connsiteY48" fmla="*/ 74268 h 149613"/>
                  <a:gd name="connsiteX49" fmla="*/ 35643 w 209896"/>
                  <a:gd name="connsiteY49" fmla="*/ 60276 h 149613"/>
                  <a:gd name="connsiteX50" fmla="*/ 9241 w 209896"/>
                  <a:gd name="connsiteY50" fmla="*/ 49512 h 149613"/>
                  <a:gd name="connsiteX51" fmla="*/ 10561 w 209896"/>
                  <a:gd name="connsiteY51" fmla="*/ 37672 h 149613"/>
                  <a:gd name="connsiteX52" fmla="*/ 36963 w 209896"/>
                  <a:gd name="connsiteY52" fmla="*/ 48436 h 149613"/>
                  <a:gd name="connsiteX53" fmla="*/ 51484 w 209896"/>
                  <a:gd name="connsiteY53" fmla="*/ 61352 h 149613"/>
                  <a:gd name="connsiteX54" fmla="*/ 62045 w 209896"/>
                  <a:gd name="connsiteY54" fmla="*/ 60276 h 149613"/>
                  <a:gd name="connsiteX55" fmla="*/ 44883 w 209896"/>
                  <a:gd name="connsiteY55" fmla="*/ 44131 h 149613"/>
                  <a:gd name="connsiteX56" fmla="*/ 64685 w 209896"/>
                  <a:gd name="connsiteY56" fmla="*/ 39825 h 149613"/>
                  <a:gd name="connsiteX57" fmla="*/ 59404 w 209896"/>
                  <a:gd name="connsiteY57" fmla="*/ 31214 h 149613"/>
                  <a:gd name="connsiteX58" fmla="*/ 35643 w 209896"/>
                  <a:gd name="connsiteY58" fmla="*/ 27985 h 149613"/>
                  <a:gd name="connsiteX59" fmla="*/ 19801 w 209896"/>
                  <a:gd name="connsiteY59" fmla="*/ 12916 h 149613"/>
                  <a:gd name="connsiteX60" fmla="*/ 50164 w 209896"/>
                  <a:gd name="connsiteY60" fmla="*/ 21527 h 149613"/>
                  <a:gd name="connsiteX61" fmla="*/ 48844 w 209896"/>
                  <a:gd name="connsiteY61" fmla="*/ 8611 h 149613"/>
                  <a:gd name="connsiteX62" fmla="*/ 64685 w 209896"/>
                  <a:gd name="connsiteY62" fmla="*/ 3229 h 149613"/>
                  <a:gd name="connsiteX63" fmla="*/ 76566 w 209896"/>
                  <a:gd name="connsiteY63" fmla="*/ 20451 h 149613"/>
                  <a:gd name="connsiteX64" fmla="*/ 72606 w 209896"/>
                  <a:gd name="connsiteY64" fmla="*/ 8611 h 14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209896" h="149613">
                    <a:moveTo>
                      <a:pt x="77886" y="0"/>
                    </a:moveTo>
                    <a:lnTo>
                      <a:pt x="91087" y="12916"/>
                    </a:lnTo>
                    <a:lnTo>
                      <a:pt x="100328" y="25833"/>
                    </a:lnTo>
                    <a:lnTo>
                      <a:pt x="95047" y="33367"/>
                    </a:lnTo>
                    <a:lnTo>
                      <a:pt x="79206" y="38749"/>
                    </a:lnTo>
                    <a:lnTo>
                      <a:pt x="71285" y="55970"/>
                    </a:lnTo>
                    <a:lnTo>
                      <a:pt x="93727" y="45207"/>
                    </a:lnTo>
                    <a:lnTo>
                      <a:pt x="93727" y="55970"/>
                    </a:lnTo>
                    <a:lnTo>
                      <a:pt x="108248" y="35520"/>
                    </a:lnTo>
                    <a:lnTo>
                      <a:pt x="120129" y="35520"/>
                    </a:lnTo>
                    <a:lnTo>
                      <a:pt x="110888" y="43054"/>
                    </a:lnTo>
                    <a:lnTo>
                      <a:pt x="114849" y="55970"/>
                    </a:lnTo>
                    <a:lnTo>
                      <a:pt x="129370" y="41978"/>
                    </a:lnTo>
                    <a:lnTo>
                      <a:pt x="145211" y="45207"/>
                    </a:lnTo>
                    <a:lnTo>
                      <a:pt x="134650" y="55970"/>
                    </a:lnTo>
                    <a:lnTo>
                      <a:pt x="139931" y="63505"/>
                    </a:lnTo>
                    <a:lnTo>
                      <a:pt x="150491" y="48436"/>
                    </a:lnTo>
                    <a:lnTo>
                      <a:pt x="158412" y="65658"/>
                    </a:lnTo>
                    <a:lnTo>
                      <a:pt x="172933" y="57047"/>
                    </a:lnTo>
                    <a:lnTo>
                      <a:pt x="175573" y="68887"/>
                    </a:lnTo>
                    <a:lnTo>
                      <a:pt x="187454" y="47360"/>
                    </a:lnTo>
                    <a:lnTo>
                      <a:pt x="198015" y="53818"/>
                    </a:lnTo>
                    <a:lnTo>
                      <a:pt x="195375" y="72116"/>
                    </a:lnTo>
                    <a:lnTo>
                      <a:pt x="207256" y="85032"/>
                    </a:lnTo>
                    <a:lnTo>
                      <a:pt x="194055" y="96872"/>
                    </a:lnTo>
                    <a:lnTo>
                      <a:pt x="207256" y="95795"/>
                    </a:lnTo>
                    <a:lnTo>
                      <a:pt x="209896" y="111941"/>
                    </a:lnTo>
                    <a:lnTo>
                      <a:pt x="195375" y="117322"/>
                    </a:lnTo>
                    <a:lnTo>
                      <a:pt x="207256" y="122704"/>
                    </a:lnTo>
                    <a:lnTo>
                      <a:pt x="196695" y="136697"/>
                    </a:lnTo>
                    <a:lnTo>
                      <a:pt x="180854" y="134544"/>
                    </a:lnTo>
                    <a:lnTo>
                      <a:pt x="176893" y="143155"/>
                    </a:lnTo>
                    <a:lnTo>
                      <a:pt x="159732" y="148537"/>
                    </a:lnTo>
                    <a:lnTo>
                      <a:pt x="154452" y="135620"/>
                    </a:lnTo>
                    <a:lnTo>
                      <a:pt x="149171" y="145308"/>
                    </a:lnTo>
                    <a:lnTo>
                      <a:pt x="108248" y="149613"/>
                    </a:lnTo>
                    <a:lnTo>
                      <a:pt x="91087" y="143155"/>
                    </a:lnTo>
                    <a:lnTo>
                      <a:pt x="73926" y="149613"/>
                    </a:lnTo>
                    <a:lnTo>
                      <a:pt x="43563" y="134544"/>
                    </a:lnTo>
                    <a:lnTo>
                      <a:pt x="38283" y="119475"/>
                    </a:lnTo>
                    <a:lnTo>
                      <a:pt x="34323" y="106559"/>
                    </a:lnTo>
                    <a:lnTo>
                      <a:pt x="19801" y="106559"/>
                    </a:lnTo>
                    <a:lnTo>
                      <a:pt x="23762" y="100101"/>
                    </a:lnTo>
                    <a:lnTo>
                      <a:pt x="0" y="93643"/>
                    </a:lnTo>
                    <a:lnTo>
                      <a:pt x="2640" y="82879"/>
                    </a:lnTo>
                    <a:lnTo>
                      <a:pt x="27722" y="88261"/>
                    </a:lnTo>
                    <a:lnTo>
                      <a:pt x="29042" y="80726"/>
                    </a:lnTo>
                    <a:lnTo>
                      <a:pt x="44883" y="80726"/>
                    </a:lnTo>
                    <a:lnTo>
                      <a:pt x="27722" y="74268"/>
                    </a:lnTo>
                    <a:lnTo>
                      <a:pt x="35643" y="60276"/>
                    </a:lnTo>
                    <a:lnTo>
                      <a:pt x="9241" y="49512"/>
                    </a:lnTo>
                    <a:lnTo>
                      <a:pt x="10561" y="37672"/>
                    </a:lnTo>
                    <a:lnTo>
                      <a:pt x="36963" y="48436"/>
                    </a:lnTo>
                    <a:lnTo>
                      <a:pt x="51484" y="61352"/>
                    </a:lnTo>
                    <a:lnTo>
                      <a:pt x="62045" y="60276"/>
                    </a:lnTo>
                    <a:lnTo>
                      <a:pt x="44883" y="44131"/>
                    </a:lnTo>
                    <a:lnTo>
                      <a:pt x="64685" y="39825"/>
                    </a:lnTo>
                    <a:lnTo>
                      <a:pt x="59404" y="31214"/>
                    </a:lnTo>
                    <a:lnTo>
                      <a:pt x="35643" y="27985"/>
                    </a:lnTo>
                    <a:lnTo>
                      <a:pt x="19801" y="12916"/>
                    </a:lnTo>
                    <a:lnTo>
                      <a:pt x="50164" y="21527"/>
                    </a:lnTo>
                    <a:lnTo>
                      <a:pt x="48844" y="8611"/>
                    </a:lnTo>
                    <a:lnTo>
                      <a:pt x="64685" y="3229"/>
                    </a:lnTo>
                    <a:lnTo>
                      <a:pt x="76566" y="20451"/>
                    </a:lnTo>
                    <a:lnTo>
                      <a:pt x="72606" y="8611"/>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42" name="Friform 24"/>
              <p:cNvSpPr/>
              <p:nvPr/>
            </p:nvSpPr>
            <p:spPr bwMode="auto">
              <a:xfrm>
                <a:off x="4267522" y="1552839"/>
                <a:ext cx="505918" cy="516727"/>
              </a:xfrm>
              <a:custGeom>
                <a:avLst/>
                <a:gdLst>
                  <a:gd name="connsiteX0" fmla="*/ 110620 w 645529"/>
                  <a:gd name="connsiteY0" fmla="*/ 626774 h 659322"/>
                  <a:gd name="connsiteX1" fmla="*/ 117221 w 645529"/>
                  <a:gd name="connsiteY1" fmla="*/ 643996 h 659322"/>
                  <a:gd name="connsiteX2" fmla="*/ 109300 w 645529"/>
                  <a:gd name="connsiteY2" fmla="*/ 647225 h 659322"/>
                  <a:gd name="connsiteX3" fmla="*/ 96099 w 645529"/>
                  <a:gd name="connsiteY3" fmla="*/ 645072 h 659322"/>
                  <a:gd name="connsiteX4" fmla="*/ 88179 w 645529"/>
                  <a:gd name="connsiteY4" fmla="*/ 634309 h 659322"/>
                  <a:gd name="connsiteX5" fmla="*/ 131541 w 645529"/>
                  <a:gd name="connsiteY5" fmla="*/ 615192 h 659322"/>
                  <a:gd name="connsiteX6" fmla="*/ 143422 w 645529"/>
                  <a:gd name="connsiteY6" fmla="*/ 615192 h 659322"/>
                  <a:gd name="connsiteX7" fmla="*/ 168504 w 645529"/>
                  <a:gd name="connsiteY7" fmla="*/ 616268 h 659322"/>
                  <a:gd name="connsiteX8" fmla="*/ 167184 w 645529"/>
                  <a:gd name="connsiteY8" fmla="*/ 628108 h 659322"/>
                  <a:gd name="connsiteX9" fmla="*/ 157943 w 645529"/>
                  <a:gd name="connsiteY9" fmla="*/ 632413 h 659322"/>
                  <a:gd name="connsiteX10" fmla="*/ 169824 w 645529"/>
                  <a:gd name="connsiteY10" fmla="*/ 637795 h 659322"/>
                  <a:gd name="connsiteX11" fmla="*/ 157943 w 645529"/>
                  <a:gd name="connsiteY11" fmla="*/ 647482 h 659322"/>
                  <a:gd name="connsiteX12" fmla="*/ 153983 w 645529"/>
                  <a:gd name="connsiteY12" fmla="*/ 659322 h 659322"/>
                  <a:gd name="connsiteX13" fmla="*/ 142102 w 645529"/>
                  <a:gd name="connsiteY13" fmla="*/ 646406 h 659322"/>
                  <a:gd name="connsiteX14" fmla="*/ 124941 w 645529"/>
                  <a:gd name="connsiteY14" fmla="*/ 643177 h 659322"/>
                  <a:gd name="connsiteX15" fmla="*/ 115700 w 645529"/>
                  <a:gd name="connsiteY15" fmla="*/ 625955 h 659322"/>
                  <a:gd name="connsiteX16" fmla="*/ 124941 w 645529"/>
                  <a:gd name="connsiteY16" fmla="*/ 622726 h 659322"/>
                  <a:gd name="connsiteX17" fmla="*/ 127967 w 645529"/>
                  <a:gd name="connsiteY17" fmla="*/ 532400 h 659322"/>
                  <a:gd name="connsiteX18" fmla="*/ 119391 w 645529"/>
                  <a:gd name="connsiteY18" fmla="*/ 544054 h 659322"/>
                  <a:gd name="connsiteX19" fmla="*/ 119391 w 645529"/>
                  <a:gd name="connsiteY19" fmla="*/ 553377 h 659322"/>
                  <a:gd name="connsiteX20" fmla="*/ 109386 w 645529"/>
                  <a:gd name="connsiteY20" fmla="*/ 565031 h 659322"/>
                  <a:gd name="connsiteX21" fmla="*/ 106527 w 645529"/>
                  <a:gd name="connsiteY21" fmla="*/ 577850 h 659322"/>
                  <a:gd name="connsiteX22" fmla="*/ 112245 w 645529"/>
                  <a:gd name="connsiteY22" fmla="*/ 586007 h 659322"/>
                  <a:gd name="connsiteX23" fmla="*/ 126538 w 645529"/>
                  <a:gd name="connsiteY23" fmla="*/ 591834 h 659322"/>
                  <a:gd name="connsiteX24" fmla="*/ 115103 w 645529"/>
                  <a:gd name="connsiteY24" fmla="*/ 601157 h 659322"/>
                  <a:gd name="connsiteX25" fmla="*/ 103669 w 645529"/>
                  <a:gd name="connsiteY25" fmla="*/ 596496 h 659322"/>
                  <a:gd name="connsiteX26" fmla="*/ 97952 w 645529"/>
                  <a:gd name="connsiteY26" fmla="*/ 606984 h 659322"/>
                  <a:gd name="connsiteX27" fmla="*/ 80801 w 645529"/>
                  <a:gd name="connsiteY27" fmla="*/ 619803 h 659322"/>
                  <a:gd name="connsiteX28" fmla="*/ 80801 w 645529"/>
                  <a:gd name="connsiteY28" fmla="*/ 630292 h 659322"/>
                  <a:gd name="connsiteX29" fmla="*/ 72225 w 645529"/>
                  <a:gd name="connsiteY29" fmla="*/ 640780 h 659322"/>
                  <a:gd name="connsiteX30" fmla="*/ 81280 w 645529"/>
                  <a:gd name="connsiteY30" fmla="*/ 656469 h 659322"/>
                  <a:gd name="connsiteX31" fmla="*/ 49539 w 645529"/>
                  <a:gd name="connsiteY31" fmla="*/ 651020 h 659322"/>
                  <a:gd name="connsiteX32" fmla="*/ 46498 w 645529"/>
                  <a:gd name="connsiteY32" fmla="*/ 645442 h 659322"/>
                  <a:gd name="connsiteX33" fmla="*/ 52215 w 645529"/>
                  <a:gd name="connsiteY33" fmla="*/ 625630 h 659322"/>
                  <a:gd name="connsiteX34" fmla="*/ 36493 w 645529"/>
                  <a:gd name="connsiteY34" fmla="*/ 618638 h 659322"/>
                  <a:gd name="connsiteX35" fmla="*/ 42210 w 645529"/>
                  <a:gd name="connsiteY35" fmla="*/ 605818 h 659322"/>
                  <a:gd name="connsiteX36" fmla="*/ 53644 w 645529"/>
                  <a:gd name="connsiteY36" fmla="*/ 608149 h 659322"/>
                  <a:gd name="connsiteX37" fmla="*/ 39351 w 645529"/>
                  <a:gd name="connsiteY37" fmla="*/ 595330 h 659322"/>
                  <a:gd name="connsiteX38" fmla="*/ 42210 w 645529"/>
                  <a:gd name="connsiteY38" fmla="*/ 587173 h 659322"/>
                  <a:gd name="connsiteX39" fmla="*/ 57932 w 645529"/>
                  <a:gd name="connsiteY39" fmla="*/ 586007 h 659322"/>
                  <a:gd name="connsiteX40" fmla="*/ 42210 w 645529"/>
                  <a:gd name="connsiteY40" fmla="*/ 580180 h 659322"/>
                  <a:gd name="connsiteX41" fmla="*/ 52215 w 645529"/>
                  <a:gd name="connsiteY41" fmla="*/ 573188 h 659322"/>
                  <a:gd name="connsiteX42" fmla="*/ 65079 w 645529"/>
                  <a:gd name="connsiteY42" fmla="*/ 576684 h 659322"/>
                  <a:gd name="connsiteX43" fmla="*/ 53644 w 645529"/>
                  <a:gd name="connsiteY43" fmla="*/ 562700 h 659322"/>
                  <a:gd name="connsiteX44" fmla="*/ 69366 w 645529"/>
                  <a:gd name="connsiteY44" fmla="*/ 552211 h 659322"/>
                  <a:gd name="connsiteX45" fmla="*/ 87947 w 645529"/>
                  <a:gd name="connsiteY45" fmla="*/ 554542 h 659322"/>
                  <a:gd name="connsiteX46" fmla="*/ 106527 w 645529"/>
                  <a:gd name="connsiteY46" fmla="*/ 540558 h 659322"/>
                  <a:gd name="connsiteX47" fmla="*/ 504279 w 645529"/>
                  <a:gd name="connsiteY47" fmla="*/ 0 h 659322"/>
                  <a:gd name="connsiteX48" fmla="*/ 521440 w 645529"/>
                  <a:gd name="connsiteY48" fmla="*/ 8611 h 659322"/>
                  <a:gd name="connsiteX49" fmla="*/ 510879 w 645529"/>
                  <a:gd name="connsiteY49" fmla="*/ 22604 h 659322"/>
                  <a:gd name="connsiteX50" fmla="*/ 509559 w 645529"/>
                  <a:gd name="connsiteY50" fmla="*/ 35520 h 659322"/>
                  <a:gd name="connsiteX51" fmla="*/ 521440 w 645529"/>
                  <a:gd name="connsiteY51" fmla="*/ 30138 h 659322"/>
                  <a:gd name="connsiteX52" fmla="*/ 521440 w 645529"/>
                  <a:gd name="connsiteY52" fmla="*/ 16146 h 659322"/>
                  <a:gd name="connsiteX53" fmla="*/ 534641 w 645529"/>
                  <a:gd name="connsiteY53" fmla="*/ 6459 h 659322"/>
                  <a:gd name="connsiteX54" fmla="*/ 558402 w 645529"/>
                  <a:gd name="connsiteY54" fmla="*/ 20451 h 659322"/>
                  <a:gd name="connsiteX55" fmla="*/ 574244 w 645529"/>
                  <a:gd name="connsiteY55" fmla="*/ 24757 h 659322"/>
                  <a:gd name="connsiteX56" fmla="*/ 567643 w 645529"/>
                  <a:gd name="connsiteY56" fmla="*/ 35520 h 659322"/>
                  <a:gd name="connsiteX57" fmla="*/ 550482 w 645529"/>
                  <a:gd name="connsiteY57" fmla="*/ 43055 h 659322"/>
                  <a:gd name="connsiteX58" fmla="*/ 529361 w 645529"/>
                  <a:gd name="connsiteY58" fmla="*/ 39826 h 659322"/>
                  <a:gd name="connsiteX59" fmla="*/ 543881 w 645529"/>
                  <a:gd name="connsiteY59" fmla="*/ 48436 h 659322"/>
                  <a:gd name="connsiteX60" fmla="*/ 555762 w 645529"/>
                  <a:gd name="connsiteY60" fmla="*/ 47360 h 659322"/>
                  <a:gd name="connsiteX61" fmla="*/ 572923 w 645529"/>
                  <a:gd name="connsiteY61" fmla="*/ 50589 h 659322"/>
                  <a:gd name="connsiteX62" fmla="*/ 575564 w 645529"/>
                  <a:gd name="connsiteY62" fmla="*/ 58124 h 659322"/>
                  <a:gd name="connsiteX63" fmla="*/ 567643 w 645529"/>
                  <a:gd name="connsiteY63" fmla="*/ 55971 h 659322"/>
                  <a:gd name="connsiteX64" fmla="*/ 550482 w 645529"/>
                  <a:gd name="connsiteY64" fmla="*/ 64582 h 659322"/>
                  <a:gd name="connsiteX65" fmla="*/ 542561 w 645529"/>
                  <a:gd name="connsiteY65" fmla="*/ 85032 h 659322"/>
                  <a:gd name="connsiteX66" fmla="*/ 533321 w 645529"/>
                  <a:gd name="connsiteY66" fmla="*/ 97949 h 659322"/>
                  <a:gd name="connsiteX67" fmla="*/ 542561 w 645529"/>
                  <a:gd name="connsiteY67" fmla="*/ 121628 h 659322"/>
                  <a:gd name="connsiteX68" fmla="*/ 574244 w 645529"/>
                  <a:gd name="connsiteY68" fmla="*/ 138850 h 659322"/>
                  <a:gd name="connsiteX69" fmla="*/ 566323 w 645529"/>
                  <a:gd name="connsiteY69" fmla="*/ 150690 h 659322"/>
                  <a:gd name="connsiteX70" fmla="*/ 554442 w 645529"/>
                  <a:gd name="connsiteY70" fmla="*/ 167912 h 659322"/>
                  <a:gd name="connsiteX71" fmla="*/ 571604 w 645529"/>
                  <a:gd name="connsiteY71" fmla="*/ 189439 h 659322"/>
                  <a:gd name="connsiteX72" fmla="*/ 592725 w 645529"/>
                  <a:gd name="connsiteY72" fmla="*/ 220653 h 659322"/>
                  <a:gd name="connsiteX73" fmla="*/ 582164 w 645529"/>
                  <a:gd name="connsiteY73" fmla="*/ 213118 h 659322"/>
                  <a:gd name="connsiteX74" fmla="*/ 588765 w 645529"/>
                  <a:gd name="connsiteY74" fmla="*/ 224958 h 659322"/>
                  <a:gd name="connsiteX75" fmla="*/ 582164 w 645529"/>
                  <a:gd name="connsiteY75" fmla="*/ 235722 h 659322"/>
                  <a:gd name="connsiteX76" fmla="*/ 584805 w 645529"/>
                  <a:gd name="connsiteY76" fmla="*/ 250791 h 659322"/>
                  <a:gd name="connsiteX77" fmla="*/ 596685 w 645529"/>
                  <a:gd name="connsiteY77" fmla="*/ 265859 h 659322"/>
                  <a:gd name="connsiteX78" fmla="*/ 608566 w 645529"/>
                  <a:gd name="connsiteY78" fmla="*/ 270165 h 659322"/>
                  <a:gd name="connsiteX79" fmla="*/ 609886 w 645529"/>
                  <a:gd name="connsiteY79" fmla="*/ 285234 h 659322"/>
                  <a:gd name="connsiteX80" fmla="*/ 594045 w 645529"/>
                  <a:gd name="connsiteY80" fmla="*/ 298150 h 659322"/>
                  <a:gd name="connsiteX81" fmla="*/ 609886 w 645529"/>
                  <a:gd name="connsiteY81" fmla="*/ 303532 h 659322"/>
                  <a:gd name="connsiteX82" fmla="*/ 633648 w 645529"/>
                  <a:gd name="connsiteY82" fmla="*/ 313219 h 659322"/>
                  <a:gd name="connsiteX83" fmla="*/ 645529 w 645529"/>
                  <a:gd name="connsiteY83" fmla="*/ 328288 h 659322"/>
                  <a:gd name="connsiteX84" fmla="*/ 634968 w 645529"/>
                  <a:gd name="connsiteY84" fmla="*/ 355197 h 659322"/>
                  <a:gd name="connsiteX85" fmla="*/ 596685 w 645529"/>
                  <a:gd name="connsiteY85" fmla="*/ 405785 h 659322"/>
                  <a:gd name="connsiteX86" fmla="*/ 572923 w 645529"/>
                  <a:gd name="connsiteY86" fmla="*/ 437000 h 659322"/>
                  <a:gd name="connsiteX87" fmla="*/ 559723 w 645529"/>
                  <a:gd name="connsiteY87" fmla="*/ 431618 h 659322"/>
                  <a:gd name="connsiteX88" fmla="*/ 506918 w 645529"/>
                  <a:gd name="connsiteY88" fmla="*/ 448840 h 659322"/>
                  <a:gd name="connsiteX89" fmla="*/ 460715 w 645529"/>
                  <a:gd name="connsiteY89" fmla="*/ 463908 h 659322"/>
                  <a:gd name="connsiteX90" fmla="*/ 451474 w 645529"/>
                  <a:gd name="connsiteY90" fmla="*/ 450992 h 659322"/>
                  <a:gd name="connsiteX91" fmla="*/ 425072 w 645529"/>
                  <a:gd name="connsiteY91" fmla="*/ 443458 h 659322"/>
                  <a:gd name="connsiteX92" fmla="*/ 407911 w 645529"/>
                  <a:gd name="connsiteY92" fmla="*/ 438076 h 659322"/>
                  <a:gd name="connsiteX93" fmla="*/ 405271 w 645529"/>
                  <a:gd name="connsiteY93" fmla="*/ 412243 h 659322"/>
                  <a:gd name="connsiteX94" fmla="*/ 421112 w 645529"/>
                  <a:gd name="connsiteY94" fmla="*/ 403633 h 659322"/>
                  <a:gd name="connsiteX95" fmla="*/ 411871 w 645529"/>
                  <a:gd name="connsiteY95" fmla="*/ 382106 h 659322"/>
                  <a:gd name="connsiteX96" fmla="*/ 407911 w 645529"/>
                  <a:gd name="connsiteY96" fmla="*/ 358426 h 659322"/>
                  <a:gd name="connsiteX97" fmla="*/ 409231 w 645529"/>
                  <a:gd name="connsiteY97" fmla="*/ 335823 h 659322"/>
                  <a:gd name="connsiteX98" fmla="*/ 425072 w 645529"/>
                  <a:gd name="connsiteY98" fmla="*/ 325059 h 659322"/>
                  <a:gd name="connsiteX99" fmla="*/ 442234 w 645529"/>
                  <a:gd name="connsiteY99" fmla="*/ 318601 h 659322"/>
                  <a:gd name="connsiteX100" fmla="*/ 464675 w 645529"/>
                  <a:gd name="connsiteY100" fmla="*/ 284157 h 659322"/>
                  <a:gd name="connsiteX101" fmla="*/ 480517 w 645529"/>
                  <a:gd name="connsiteY101" fmla="*/ 261554 h 659322"/>
                  <a:gd name="connsiteX102" fmla="*/ 489757 w 645529"/>
                  <a:gd name="connsiteY102" fmla="*/ 262630 h 659322"/>
                  <a:gd name="connsiteX103" fmla="*/ 491077 w 645529"/>
                  <a:gd name="connsiteY103" fmla="*/ 240027 h 659322"/>
                  <a:gd name="connsiteX104" fmla="*/ 477876 w 645529"/>
                  <a:gd name="connsiteY104" fmla="*/ 227111 h 659322"/>
                  <a:gd name="connsiteX105" fmla="*/ 452795 w 645529"/>
                  <a:gd name="connsiteY105" fmla="*/ 224958 h 659322"/>
                  <a:gd name="connsiteX106" fmla="*/ 425072 w 645529"/>
                  <a:gd name="connsiteY106" fmla="*/ 227111 h 659322"/>
                  <a:gd name="connsiteX107" fmla="*/ 406591 w 645529"/>
                  <a:gd name="connsiteY107" fmla="*/ 242180 h 659322"/>
                  <a:gd name="connsiteX108" fmla="*/ 415832 w 645529"/>
                  <a:gd name="connsiteY108" fmla="*/ 248638 h 659322"/>
                  <a:gd name="connsiteX109" fmla="*/ 405271 w 645529"/>
                  <a:gd name="connsiteY109" fmla="*/ 264783 h 659322"/>
                  <a:gd name="connsiteX110" fmla="*/ 418472 w 645529"/>
                  <a:gd name="connsiteY110" fmla="*/ 279852 h 659322"/>
                  <a:gd name="connsiteX111" fmla="*/ 402631 w 645529"/>
                  <a:gd name="connsiteY111" fmla="*/ 290615 h 659322"/>
                  <a:gd name="connsiteX112" fmla="*/ 398670 w 645529"/>
                  <a:gd name="connsiteY112" fmla="*/ 309990 h 659322"/>
                  <a:gd name="connsiteX113" fmla="*/ 386790 w 645529"/>
                  <a:gd name="connsiteY113" fmla="*/ 307837 h 659322"/>
                  <a:gd name="connsiteX114" fmla="*/ 353787 w 645529"/>
                  <a:gd name="connsiteY114" fmla="*/ 331517 h 659322"/>
                  <a:gd name="connsiteX115" fmla="*/ 330025 w 645529"/>
                  <a:gd name="connsiteY115" fmla="*/ 335823 h 659322"/>
                  <a:gd name="connsiteX116" fmla="*/ 337946 w 645529"/>
                  <a:gd name="connsiteY116" fmla="*/ 356273 h 659322"/>
                  <a:gd name="connsiteX117" fmla="*/ 327385 w 645529"/>
                  <a:gd name="connsiteY117" fmla="*/ 364884 h 659322"/>
                  <a:gd name="connsiteX118" fmla="*/ 314184 w 645529"/>
                  <a:gd name="connsiteY118" fmla="*/ 362731 h 659322"/>
                  <a:gd name="connsiteX119" fmla="*/ 314184 w 645529"/>
                  <a:gd name="connsiteY119" fmla="*/ 386411 h 659322"/>
                  <a:gd name="connsiteX120" fmla="*/ 304943 w 645529"/>
                  <a:gd name="connsiteY120" fmla="*/ 404709 h 659322"/>
                  <a:gd name="connsiteX121" fmla="*/ 310224 w 645529"/>
                  <a:gd name="connsiteY121" fmla="*/ 432694 h 659322"/>
                  <a:gd name="connsiteX122" fmla="*/ 339266 w 645529"/>
                  <a:gd name="connsiteY122" fmla="*/ 449916 h 659322"/>
                  <a:gd name="connsiteX123" fmla="*/ 355107 w 645529"/>
                  <a:gd name="connsiteY123" fmla="*/ 461755 h 659322"/>
                  <a:gd name="connsiteX124" fmla="*/ 345867 w 645529"/>
                  <a:gd name="connsiteY124" fmla="*/ 476825 h 659322"/>
                  <a:gd name="connsiteX125" fmla="*/ 323425 w 645529"/>
                  <a:gd name="connsiteY125" fmla="*/ 482207 h 659322"/>
                  <a:gd name="connsiteX126" fmla="*/ 302303 w 645529"/>
                  <a:gd name="connsiteY126" fmla="*/ 474672 h 659322"/>
                  <a:gd name="connsiteX127" fmla="*/ 275901 w 645529"/>
                  <a:gd name="connsiteY127" fmla="*/ 480054 h 659322"/>
                  <a:gd name="connsiteX128" fmla="*/ 294382 w 645529"/>
                  <a:gd name="connsiteY128" fmla="*/ 481130 h 659322"/>
                  <a:gd name="connsiteX129" fmla="*/ 315504 w 645529"/>
                  <a:gd name="connsiteY129" fmla="*/ 488665 h 659322"/>
                  <a:gd name="connsiteX130" fmla="*/ 337946 w 645529"/>
                  <a:gd name="connsiteY130" fmla="*/ 494046 h 659322"/>
                  <a:gd name="connsiteX131" fmla="*/ 322105 w 645529"/>
                  <a:gd name="connsiteY131" fmla="*/ 502657 h 659322"/>
                  <a:gd name="connsiteX132" fmla="*/ 302303 w 645529"/>
                  <a:gd name="connsiteY132" fmla="*/ 513421 h 659322"/>
                  <a:gd name="connsiteX133" fmla="*/ 279862 w 645529"/>
                  <a:gd name="connsiteY133" fmla="*/ 508039 h 659322"/>
                  <a:gd name="connsiteX134" fmla="*/ 290422 w 645529"/>
                  <a:gd name="connsiteY134" fmla="*/ 531719 h 659322"/>
                  <a:gd name="connsiteX135" fmla="*/ 293062 w 645529"/>
                  <a:gd name="connsiteY135" fmla="*/ 566162 h 659322"/>
                  <a:gd name="connsiteX136" fmla="*/ 267980 w 645529"/>
                  <a:gd name="connsiteY136" fmla="*/ 617826 h 659322"/>
                  <a:gd name="connsiteX137" fmla="*/ 224417 w 645529"/>
                  <a:gd name="connsiteY137" fmla="*/ 615674 h 659322"/>
                  <a:gd name="connsiteX138" fmla="*/ 216497 w 645529"/>
                  <a:gd name="connsiteY138" fmla="*/ 639354 h 659322"/>
                  <a:gd name="connsiteX139" fmla="*/ 180854 w 645529"/>
                  <a:gd name="connsiteY139" fmla="*/ 646888 h 659322"/>
                  <a:gd name="connsiteX140" fmla="*/ 171613 w 645529"/>
                  <a:gd name="connsiteY140" fmla="*/ 618903 h 659322"/>
                  <a:gd name="connsiteX141" fmla="*/ 174254 w 645529"/>
                  <a:gd name="connsiteY141" fmla="*/ 604910 h 659322"/>
                  <a:gd name="connsiteX142" fmla="*/ 186134 w 645529"/>
                  <a:gd name="connsiteY142" fmla="*/ 601681 h 659322"/>
                  <a:gd name="connsiteX143" fmla="*/ 168973 w 645529"/>
                  <a:gd name="connsiteY143" fmla="*/ 579078 h 659322"/>
                  <a:gd name="connsiteX144" fmla="*/ 157092 w 645529"/>
                  <a:gd name="connsiteY144" fmla="*/ 550016 h 659322"/>
                  <a:gd name="connsiteX145" fmla="*/ 157092 w 645529"/>
                  <a:gd name="connsiteY145" fmla="*/ 528489 h 659322"/>
                  <a:gd name="connsiteX146" fmla="*/ 145211 w 645529"/>
                  <a:gd name="connsiteY146" fmla="*/ 512344 h 659322"/>
                  <a:gd name="connsiteX147" fmla="*/ 146531 w 645529"/>
                  <a:gd name="connsiteY147" fmla="*/ 494046 h 659322"/>
                  <a:gd name="connsiteX148" fmla="*/ 142571 w 645529"/>
                  <a:gd name="connsiteY148" fmla="*/ 482207 h 659322"/>
                  <a:gd name="connsiteX149" fmla="*/ 147852 w 645529"/>
                  <a:gd name="connsiteY149" fmla="*/ 457450 h 659322"/>
                  <a:gd name="connsiteX150" fmla="*/ 139931 w 645529"/>
                  <a:gd name="connsiteY150" fmla="*/ 452069 h 659322"/>
                  <a:gd name="connsiteX151" fmla="*/ 130690 w 645529"/>
                  <a:gd name="connsiteY151" fmla="*/ 478977 h 659322"/>
                  <a:gd name="connsiteX152" fmla="*/ 109569 w 645529"/>
                  <a:gd name="connsiteY152" fmla="*/ 489741 h 659322"/>
                  <a:gd name="connsiteX153" fmla="*/ 88447 w 645529"/>
                  <a:gd name="connsiteY153" fmla="*/ 508039 h 659322"/>
                  <a:gd name="connsiteX154" fmla="*/ 64685 w 645529"/>
                  <a:gd name="connsiteY154" fmla="*/ 517726 h 659322"/>
                  <a:gd name="connsiteX155" fmla="*/ 44884 w 645529"/>
                  <a:gd name="connsiteY155" fmla="*/ 527413 h 659322"/>
                  <a:gd name="connsiteX156" fmla="*/ 27723 w 645529"/>
                  <a:gd name="connsiteY156" fmla="*/ 511268 h 659322"/>
                  <a:gd name="connsiteX157" fmla="*/ 1320 w 645529"/>
                  <a:gd name="connsiteY157" fmla="*/ 491894 h 659322"/>
                  <a:gd name="connsiteX158" fmla="*/ 1320 w 645529"/>
                  <a:gd name="connsiteY158" fmla="*/ 471443 h 659322"/>
                  <a:gd name="connsiteX159" fmla="*/ 15842 w 645529"/>
                  <a:gd name="connsiteY159" fmla="*/ 470367 h 659322"/>
                  <a:gd name="connsiteX160" fmla="*/ 26402 w 645529"/>
                  <a:gd name="connsiteY160" fmla="*/ 464985 h 659322"/>
                  <a:gd name="connsiteX161" fmla="*/ 22442 w 645529"/>
                  <a:gd name="connsiteY161" fmla="*/ 454221 h 659322"/>
                  <a:gd name="connsiteX162" fmla="*/ 11881 w 645529"/>
                  <a:gd name="connsiteY162" fmla="*/ 461755 h 659322"/>
                  <a:gd name="connsiteX163" fmla="*/ 1320 w 645529"/>
                  <a:gd name="connsiteY163" fmla="*/ 462832 h 659322"/>
                  <a:gd name="connsiteX164" fmla="*/ 0 w 645529"/>
                  <a:gd name="connsiteY164" fmla="*/ 448840 h 659322"/>
                  <a:gd name="connsiteX165" fmla="*/ 15842 w 645529"/>
                  <a:gd name="connsiteY165" fmla="*/ 448840 h 659322"/>
                  <a:gd name="connsiteX166" fmla="*/ 11881 w 645529"/>
                  <a:gd name="connsiteY166" fmla="*/ 441305 h 659322"/>
                  <a:gd name="connsiteX167" fmla="*/ 19802 w 645529"/>
                  <a:gd name="connsiteY167" fmla="*/ 435923 h 659322"/>
                  <a:gd name="connsiteX168" fmla="*/ 21122 w 645529"/>
                  <a:gd name="connsiteY168" fmla="*/ 428389 h 659322"/>
                  <a:gd name="connsiteX169" fmla="*/ 5281 w 645529"/>
                  <a:gd name="connsiteY169" fmla="*/ 432694 h 659322"/>
                  <a:gd name="connsiteX170" fmla="*/ 15842 w 645529"/>
                  <a:gd name="connsiteY170" fmla="*/ 416549 h 659322"/>
                  <a:gd name="connsiteX171" fmla="*/ 22442 w 645529"/>
                  <a:gd name="connsiteY171" fmla="*/ 404709 h 659322"/>
                  <a:gd name="connsiteX172" fmla="*/ 7921 w 645529"/>
                  <a:gd name="connsiteY172" fmla="*/ 410091 h 659322"/>
                  <a:gd name="connsiteX173" fmla="*/ 9241 w 645529"/>
                  <a:gd name="connsiteY173" fmla="*/ 392869 h 659322"/>
                  <a:gd name="connsiteX174" fmla="*/ 23762 w 645529"/>
                  <a:gd name="connsiteY174" fmla="*/ 389640 h 659322"/>
                  <a:gd name="connsiteX175" fmla="*/ 40923 w 645529"/>
                  <a:gd name="connsiteY175" fmla="*/ 396098 h 659322"/>
                  <a:gd name="connsiteX176" fmla="*/ 55444 w 645529"/>
                  <a:gd name="connsiteY176" fmla="*/ 391793 h 659322"/>
                  <a:gd name="connsiteX177" fmla="*/ 42244 w 645529"/>
                  <a:gd name="connsiteY177" fmla="*/ 385335 h 659322"/>
                  <a:gd name="connsiteX178" fmla="*/ 18482 w 645529"/>
                  <a:gd name="connsiteY178" fmla="*/ 383182 h 659322"/>
                  <a:gd name="connsiteX179" fmla="*/ 15842 w 645529"/>
                  <a:gd name="connsiteY179" fmla="*/ 368113 h 659322"/>
                  <a:gd name="connsiteX180" fmla="*/ 26402 w 645529"/>
                  <a:gd name="connsiteY180" fmla="*/ 363808 h 659322"/>
                  <a:gd name="connsiteX181" fmla="*/ 30363 w 645529"/>
                  <a:gd name="connsiteY181" fmla="*/ 350891 h 659322"/>
                  <a:gd name="connsiteX182" fmla="*/ 50164 w 645529"/>
                  <a:gd name="connsiteY182" fmla="*/ 347662 h 659322"/>
                  <a:gd name="connsiteX183" fmla="*/ 63365 w 645529"/>
                  <a:gd name="connsiteY183" fmla="*/ 344433 h 659322"/>
                  <a:gd name="connsiteX184" fmla="*/ 60725 w 645529"/>
                  <a:gd name="connsiteY184" fmla="*/ 331517 h 659322"/>
                  <a:gd name="connsiteX185" fmla="*/ 76566 w 645529"/>
                  <a:gd name="connsiteY185" fmla="*/ 339052 h 659322"/>
                  <a:gd name="connsiteX186" fmla="*/ 89767 w 645529"/>
                  <a:gd name="connsiteY186" fmla="*/ 337975 h 659322"/>
                  <a:gd name="connsiteX187" fmla="*/ 69966 w 645529"/>
                  <a:gd name="connsiteY187" fmla="*/ 325059 h 659322"/>
                  <a:gd name="connsiteX188" fmla="*/ 81847 w 645529"/>
                  <a:gd name="connsiteY188" fmla="*/ 316448 h 659322"/>
                  <a:gd name="connsiteX189" fmla="*/ 92407 w 645529"/>
                  <a:gd name="connsiteY189" fmla="*/ 323983 h 659322"/>
                  <a:gd name="connsiteX190" fmla="*/ 112209 w 645529"/>
                  <a:gd name="connsiteY190" fmla="*/ 332594 h 659322"/>
                  <a:gd name="connsiteX191" fmla="*/ 109569 w 645529"/>
                  <a:gd name="connsiteY191" fmla="*/ 316448 h 659322"/>
                  <a:gd name="connsiteX192" fmla="*/ 124090 w 645529"/>
                  <a:gd name="connsiteY192" fmla="*/ 311067 h 659322"/>
                  <a:gd name="connsiteX193" fmla="*/ 138611 w 645529"/>
                  <a:gd name="connsiteY193" fmla="*/ 303532 h 659322"/>
                  <a:gd name="connsiteX194" fmla="*/ 146531 w 645529"/>
                  <a:gd name="connsiteY194" fmla="*/ 313219 h 659322"/>
                  <a:gd name="connsiteX195" fmla="*/ 150492 w 645529"/>
                  <a:gd name="connsiteY195" fmla="*/ 302456 h 659322"/>
                  <a:gd name="connsiteX196" fmla="*/ 168973 w 645529"/>
                  <a:gd name="connsiteY196" fmla="*/ 298150 h 659322"/>
                  <a:gd name="connsiteX197" fmla="*/ 179534 w 645529"/>
                  <a:gd name="connsiteY197" fmla="*/ 301379 h 659322"/>
                  <a:gd name="connsiteX198" fmla="*/ 184814 w 645529"/>
                  <a:gd name="connsiteY198" fmla="*/ 288463 h 659322"/>
                  <a:gd name="connsiteX199" fmla="*/ 166333 w 645529"/>
                  <a:gd name="connsiteY199" fmla="*/ 297074 h 659322"/>
                  <a:gd name="connsiteX200" fmla="*/ 154452 w 645529"/>
                  <a:gd name="connsiteY200" fmla="*/ 289539 h 659322"/>
                  <a:gd name="connsiteX201" fmla="*/ 162373 w 645529"/>
                  <a:gd name="connsiteY201" fmla="*/ 278776 h 659322"/>
                  <a:gd name="connsiteX202" fmla="*/ 180854 w 645529"/>
                  <a:gd name="connsiteY202" fmla="*/ 266936 h 659322"/>
                  <a:gd name="connsiteX203" fmla="*/ 184814 w 645529"/>
                  <a:gd name="connsiteY203" fmla="*/ 278776 h 659322"/>
                  <a:gd name="connsiteX204" fmla="*/ 196695 w 645529"/>
                  <a:gd name="connsiteY204" fmla="*/ 270165 h 659322"/>
                  <a:gd name="connsiteX205" fmla="*/ 191415 w 645529"/>
                  <a:gd name="connsiteY205" fmla="*/ 262630 h 659322"/>
                  <a:gd name="connsiteX206" fmla="*/ 205936 w 645529"/>
                  <a:gd name="connsiteY206" fmla="*/ 250791 h 659322"/>
                  <a:gd name="connsiteX207" fmla="*/ 219137 w 645529"/>
                  <a:gd name="connsiteY207" fmla="*/ 249714 h 659322"/>
                  <a:gd name="connsiteX208" fmla="*/ 228377 w 645529"/>
                  <a:gd name="connsiteY208" fmla="*/ 238951 h 659322"/>
                  <a:gd name="connsiteX209" fmla="*/ 213857 w 645529"/>
                  <a:gd name="connsiteY209" fmla="*/ 237874 h 659322"/>
                  <a:gd name="connsiteX210" fmla="*/ 219137 w 645529"/>
                  <a:gd name="connsiteY210" fmla="*/ 226035 h 659322"/>
                  <a:gd name="connsiteX211" fmla="*/ 229698 w 645529"/>
                  <a:gd name="connsiteY211" fmla="*/ 218500 h 659322"/>
                  <a:gd name="connsiteX212" fmla="*/ 220457 w 645529"/>
                  <a:gd name="connsiteY212" fmla="*/ 208813 h 659322"/>
                  <a:gd name="connsiteX213" fmla="*/ 233658 w 645529"/>
                  <a:gd name="connsiteY213" fmla="*/ 205584 h 659322"/>
                  <a:gd name="connsiteX214" fmla="*/ 244219 w 645529"/>
                  <a:gd name="connsiteY214" fmla="*/ 210966 h 659322"/>
                  <a:gd name="connsiteX215" fmla="*/ 258740 w 645529"/>
                  <a:gd name="connsiteY215" fmla="*/ 201278 h 659322"/>
                  <a:gd name="connsiteX216" fmla="*/ 236298 w 645529"/>
                  <a:gd name="connsiteY216" fmla="*/ 203431 h 659322"/>
                  <a:gd name="connsiteX217" fmla="*/ 245539 w 645529"/>
                  <a:gd name="connsiteY217" fmla="*/ 189439 h 659322"/>
                  <a:gd name="connsiteX218" fmla="*/ 258740 w 645529"/>
                  <a:gd name="connsiteY218" fmla="*/ 182981 h 659322"/>
                  <a:gd name="connsiteX219" fmla="*/ 253459 w 645529"/>
                  <a:gd name="connsiteY219" fmla="*/ 174370 h 659322"/>
                  <a:gd name="connsiteX220" fmla="*/ 267980 w 645529"/>
                  <a:gd name="connsiteY220" fmla="*/ 172217 h 659322"/>
                  <a:gd name="connsiteX221" fmla="*/ 282502 w 645529"/>
                  <a:gd name="connsiteY221" fmla="*/ 165759 h 659322"/>
                  <a:gd name="connsiteX222" fmla="*/ 262700 w 645529"/>
                  <a:gd name="connsiteY222" fmla="*/ 164682 h 659322"/>
                  <a:gd name="connsiteX223" fmla="*/ 271941 w 645529"/>
                  <a:gd name="connsiteY223" fmla="*/ 156072 h 659322"/>
                  <a:gd name="connsiteX224" fmla="*/ 285142 w 645529"/>
                  <a:gd name="connsiteY224" fmla="*/ 159301 h 659322"/>
                  <a:gd name="connsiteX225" fmla="*/ 295703 w 645529"/>
                  <a:gd name="connsiteY225" fmla="*/ 149614 h 659322"/>
                  <a:gd name="connsiteX226" fmla="*/ 293062 w 645529"/>
                  <a:gd name="connsiteY226" fmla="*/ 141003 h 659322"/>
                  <a:gd name="connsiteX227" fmla="*/ 269301 w 645529"/>
                  <a:gd name="connsiteY227" fmla="*/ 151766 h 659322"/>
                  <a:gd name="connsiteX228" fmla="*/ 266661 w 645529"/>
                  <a:gd name="connsiteY228" fmla="*/ 141003 h 659322"/>
                  <a:gd name="connsiteX229" fmla="*/ 287782 w 645529"/>
                  <a:gd name="connsiteY229" fmla="*/ 136697 h 659322"/>
                  <a:gd name="connsiteX230" fmla="*/ 308904 w 645529"/>
                  <a:gd name="connsiteY230" fmla="*/ 132392 h 659322"/>
                  <a:gd name="connsiteX231" fmla="*/ 293062 w 645529"/>
                  <a:gd name="connsiteY231" fmla="*/ 130239 h 659322"/>
                  <a:gd name="connsiteX232" fmla="*/ 300983 w 645529"/>
                  <a:gd name="connsiteY232" fmla="*/ 120552 h 659322"/>
                  <a:gd name="connsiteX233" fmla="*/ 317509 w 645529"/>
                  <a:gd name="connsiteY233" fmla="*/ 118479 h 659322"/>
                  <a:gd name="connsiteX234" fmla="*/ 319464 w 645529"/>
                  <a:gd name="connsiteY234" fmla="*/ 119476 h 659322"/>
                  <a:gd name="connsiteX235" fmla="*/ 335306 w 645529"/>
                  <a:gd name="connsiteY235" fmla="*/ 116246 h 659322"/>
                  <a:gd name="connsiteX236" fmla="*/ 317509 w 645529"/>
                  <a:gd name="connsiteY236" fmla="*/ 118479 h 659322"/>
                  <a:gd name="connsiteX237" fmla="*/ 308904 w 645529"/>
                  <a:gd name="connsiteY237" fmla="*/ 114094 h 659322"/>
                  <a:gd name="connsiteX238" fmla="*/ 294382 w 645529"/>
                  <a:gd name="connsiteY238" fmla="*/ 113017 h 659322"/>
                  <a:gd name="connsiteX239" fmla="*/ 279862 w 645529"/>
                  <a:gd name="connsiteY239" fmla="*/ 111941 h 659322"/>
                  <a:gd name="connsiteX240" fmla="*/ 285142 w 645529"/>
                  <a:gd name="connsiteY240" fmla="*/ 103330 h 659322"/>
                  <a:gd name="connsiteX241" fmla="*/ 299663 w 645529"/>
                  <a:gd name="connsiteY241" fmla="*/ 103330 h 659322"/>
                  <a:gd name="connsiteX242" fmla="*/ 308904 w 645529"/>
                  <a:gd name="connsiteY242" fmla="*/ 99025 h 659322"/>
                  <a:gd name="connsiteX243" fmla="*/ 314184 w 645529"/>
                  <a:gd name="connsiteY243" fmla="*/ 108712 h 659322"/>
                  <a:gd name="connsiteX244" fmla="*/ 330025 w 645529"/>
                  <a:gd name="connsiteY244" fmla="*/ 111941 h 659322"/>
                  <a:gd name="connsiteX245" fmla="*/ 330025 w 645529"/>
                  <a:gd name="connsiteY245" fmla="*/ 99025 h 659322"/>
                  <a:gd name="connsiteX246" fmla="*/ 339266 w 645529"/>
                  <a:gd name="connsiteY246" fmla="*/ 95796 h 659322"/>
                  <a:gd name="connsiteX247" fmla="*/ 343226 w 645529"/>
                  <a:gd name="connsiteY247" fmla="*/ 83956 h 659322"/>
                  <a:gd name="connsiteX248" fmla="*/ 357747 w 645529"/>
                  <a:gd name="connsiteY248" fmla="*/ 76422 h 659322"/>
                  <a:gd name="connsiteX249" fmla="*/ 366988 w 645529"/>
                  <a:gd name="connsiteY249" fmla="*/ 82880 h 659322"/>
                  <a:gd name="connsiteX250" fmla="*/ 378869 w 645529"/>
                  <a:gd name="connsiteY250" fmla="*/ 91490 h 659322"/>
                  <a:gd name="connsiteX251" fmla="*/ 380189 w 645529"/>
                  <a:gd name="connsiteY251" fmla="*/ 78574 h 659322"/>
                  <a:gd name="connsiteX252" fmla="*/ 399990 w 645529"/>
                  <a:gd name="connsiteY252" fmla="*/ 81803 h 659322"/>
                  <a:gd name="connsiteX253" fmla="*/ 384149 w 645529"/>
                  <a:gd name="connsiteY253" fmla="*/ 69963 h 659322"/>
                  <a:gd name="connsiteX254" fmla="*/ 392070 w 645529"/>
                  <a:gd name="connsiteY254" fmla="*/ 58124 h 659322"/>
                  <a:gd name="connsiteX255" fmla="*/ 397351 w 645529"/>
                  <a:gd name="connsiteY255" fmla="*/ 65658 h 659322"/>
                  <a:gd name="connsiteX256" fmla="*/ 402631 w 645529"/>
                  <a:gd name="connsiteY256" fmla="*/ 57047 h 659322"/>
                  <a:gd name="connsiteX257" fmla="*/ 415832 w 645529"/>
                  <a:gd name="connsiteY257" fmla="*/ 68887 h 659322"/>
                  <a:gd name="connsiteX258" fmla="*/ 405271 w 645529"/>
                  <a:gd name="connsiteY258" fmla="*/ 52742 h 659322"/>
                  <a:gd name="connsiteX259" fmla="*/ 396030 w 645529"/>
                  <a:gd name="connsiteY259" fmla="*/ 46284 h 659322"/>
                  <a:gd name="connsiteX260" fmla="*/ 406591 w 645529"/>
                  <a:gd name="connsiteY260" fmla="*/ 39826 h 659322"/>
                  <a:gd name="connsiteX261" fmla="*/ 427713 w 645529"/>
                  <a:gd name="connsiteY261" fmla="*/ 45207 h 659322"/>
                  <a:gd name="connsiteX262" fmla="*/ 442234 w 645529"/>
                  <a:gd name="connsiteY262" fmla="*/ 61353 h 659322"/>
                  <a:gd name="connsiteX263" fmla="*/ 434313 w 645529"/>
                  <a:gd name="connsiteY263" fmla="*/ 49513 h 659322"/>
                  <a:gd name="connsiteX264" fmla="*/ 440913 w 645529"/>
                  <a:gd name="connsiteY264" fmla="*/ 35520 h 659322"/>
                  <a:gd name="connsiteX265" fmla="*/ 455435 w 645529"/>
                  <a:gd name="connsiteY265" fmla="*/ 35520 h 659322"/>
                  <a:gd name="connsiteX266" fmla="*/ 446194 w 645529"/>
                  <a:gd name="connsiteY266" fmla="*/ 24757 h 659322"/>
                  <a:gd name="connsiteX267" fmla="*/ 455435 w 645529"/>
                  <a:gd name="connsiteY267" fmla="*/ 12917 h 659322"/>
                  <a:gd name="connsiteX268" fmla="*/ 475236 w 645529"/>
                  <a:gd name="connsiteY268" fmla="*/ 16146 h 659322"/>
                  <a:gd name="connsiteX269" fmla="*/ 465995 w 645529"/>
                  <a:gd name="connsiteY269" fmla="*/ 37673 h 659322"/>
                  <a:gd name="connsiteX270" fmla="*/ 471276 w 645529"/>
                  <a:gd name="connsiteY270" fmla="*/ 53818 h 659322"/>
                  <a:gd name="connsiteX271" fmla="*/ 484477 w 645529"/>
                  <a:gd name="connsiteY271" fmla="*/ 23680 h 659322"/>
                  <a:gd name="connsiteX272" fmla="*/ 491077 w 645529"/>
                  <a:gd name="connsiteY272" fmla="*/ 13993 h 659322"/>
                  <a:gd name="connsiteX273" fmla="*/ 491077 w 645529"/>
                  <a:gd name="connsiteY273" fmla="*/ 37673 h 659322"/>
                  <a:gd name="connsiteX274" fmla="*/ 496358 w 645529"/>
                  <a:gd name="connsiteY274" fmla="*/ 27986 h 65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645529" h="659322">
                    <a:moveTo>
                      <a:pt x="110620" y="626774"/>
                    </a:moveTo>
                    <a:lnTo>
                      <a:pt x="117221" y="643996"/>
                    </a:lnTo>
                    <a:lnTo>
                      <a:pt x="109300" y="647225"/>
                    </a:lnTo>
                    <a:lnTo>
                      <a:pt x="96099" y="645072"/>
                    </a:lnTo>
                    <a:lnTo>
                      <a:pt x="88179" y="634309"/>
                    </a:lnTo>
                    <a:close/>
                    <a:moveTo>
                      <a:pt x="131541" y="615192"/>
                    </a:moveTo>
                    <a:lnTo>
                      <a:pt x="143422" y="615192"/>
                    </a:lnTo>
                    <a:lnTo>
                      <a:pt x="168504" y="616268"/>
                    </a:lnTo>
                    <a:lnTo>
                      <a:pt x="167184" y="628108"/>
                    </a:lnTo>
                    <a:lnTo>
                      <a:pt x="157943" y="632413"/>
                    </a:lnTo>
                    <a:lnTo>
                      <a:pt x="169824" y="637795"/>
                    </a:lnTo>
                    <a:lnTo>
                      <a:pt x="157943" y="647482"/>
                    </a:lnTo>
                    <a:lnTo>
                      <a:pt x="153983" y="659322"/>
                    </a:lnTo>
                    <a:lnTo>
                      <a:pt x="142102" y="646406"/>
                    </a:lnTo>
                    <a:lnTo>
                      <a:pt x="124941" y="643177"/>
                    </a:lnTo>
                    <a:lnTo>
                      <a:pt x="115700" y="625955"/>
                    </a:lnTo>
                    <a:lnTo>
                      <a:pt x="124941" y="622726"/>
                    </a:lnTo>
                    <a:close/>
                    <a:moveTo>
                      <a:pt x="127967" y="532400"/>
                    </a:moveTo>
                    <a:lnTo>
                      <a:pt x="119391" y="544054"/>
                    </a:lnTo>
                    <a:lnTo>
                      <a:pt x="119391" y="553377"/>
                    </a:lnTo>
                    <a:lnTo>
                      <a:pt x="109386" y="565031"/>
                    </a:lnTo>
                    <a:lnTo>
                      <a:pt x="106527" y="577850"/>
                    </a:lnTo>
                    <a:lnTo>
                      <a:pt x="112245" y="586007"/>
                    </a:lnTo>
                    <a:lnTo>
                      <a:pt x="126538" y="591834"/>
                    </a:lnTo>
                    <a:lnTo>
                      <a:pt x="115103" y="601157"/>
                    </a:lnTo>
                    <a:lnTo>
                      <a:pt x="103669" y="596496"/>
                    </a:lnTo>
                    <a:lnTo>
                      <a:pt x="97952" y="606984"/>
                    </a:lnTo>
                    <a:lnTo>
                      <a:pt x="80801" y="619803"/>
                    </a:lnTo>
                    <a:lnTo>
                      <a:pt x="80801" y="630292"/>
                    </a:lnTo>
                    <a:lnTo>
                      <a:pt x="72225" y="640780"/>
                    </a:lnTo>
                    <a:lnTo>
                      <a:pt x="81280" y="656469"/>
                    </a:lnTo>
                    <a:lnTo>
                      <a:pt x="49539" y="651020"/>
                    </a:lnTo>
                    <a:lnTo>
                      <a:pt x="46498" y="645442"/>
                    </a:lnTo>
                    <a:lnTo>
                      <a:pt x="52215" y="625630"/>
                    </a:lnTo>
                    <a:lnTo>
                      <a:pt x="36493" y="618638"/>
                    </a:lnTo>
                    <a:lnTo>
                      <a:pt x="42210" y="605818"/>
                    </a:lnTo>
                    <a:lnTo>
                      <a:pt x="53644" y="608149"/>
                    </a:lnTo>
                    <a:lnTo>
                      <a:pt x="39351" y="595330"/>
                    </a:lnTo>
                    <a:lnTo>
                      <a:pt x="42210" y="587173"/>
                    </a:lnTo>
                    <a:lnTo>
                      <a:pt x="57932" y="586007"/>
                    </a:lnTo>
                    <a:lnTo>
                      <a:pt x="42210" y="580180"/>
                    </a:lnTo>
                    <a:lnTo>
                      <a:pt x="52215" y="573188"/>
                    </a:lnTo>
                    <a:lnTo>
                      <a:pt x="65079" y="576684"/>
                    </a:lnTo>
                    <a:lnTo>
                      <a:pt x="53644" y="562700"/>
                    </a:lnTo>
                    <a:lnTo>
                      <a:pt x="69366" y="552211"/>
                    </a:lnTo>
                    <a:lnTo>
                      <a:pt x="87947" y="554542"/>
                    </a:lnTo>
                    <a:lnTo>
                      <a:pt x="106527" y="540558"/>
                    </a:lnTo>
                    <a:close/>
                    <a:moveTo>
                      <a:pt x="504279" y="0"/>
                    </a:moveTo>
                    <a:lnTo>
                      <a:pt x="521440" y="8611"/>
                    </a:lnTo>
                    <a:lnTo>
                      <a:pt x="510879" y="22604"/>
                    </a:lnTo>
                    <a:lnTo>
                      <a:pt x="509559" y="35520"/>
                    </a:lnTo>
                    <a:lnTo>
                      <a:pt x="521440" y="30138"/>
                    </a:lnTo>
                    <a:lnTo>
                      <a:pt x="521440" y="16146"/>
                    </a:lnTo>
                    <a:lnTo>
                      <a:pt x="534641" y="6459"/>
                    </a:lnTo>
                    <a:lnTo>
                      <a:pt x="558402" y="20451"/>
                    </a:lnTo>
                    <a:lnTo>
                      <a:pt x="574244" y="24757"/>
                    </a:lnTo>
                    <a:lnTo>
                      <a:pt x="567643" y="35520"/>
                    </a:lnTo>
                    <a:lnTo>
                      <a:pt x="550482" y="43055"/>
                    </a:lnTo>
                    <a:lnTo>
                      <a:pt x="529361" y="39826"/>
                    </a:lnTo>
                    <a:lnTo>
                      <a:pt x="543881" y="48436"/>
                    </a:lnTo>
                    <a:lnTo>
                      <a:pt x="555762" y="47360"/>
                    </a:lnTo>
                    <a:lnTo>
                      <a:pt x="572923" y="50589"/>
                    </a:lnTo>
                    <a:lnTo>
                      <a:pt x="575564" y="58124"/>
                    </a:lnTo>
                    <a:lnTo>
                      <a:pt x="567643" y="55971"/>
                    </a:lnTo>
                    <a:lnTo>
                      <a:pt x="550482" y="64582"/>
                    </a:lnTo>
                    <a:lnTo>
                      <a:pt x="542561" y="85032"/>
                    </a:lnTo>
                    <a:lnTo>
                      <a:pt x="533321" y="97949"/>
                    </a:lnTo>
                    <a:lnTo>
                      <a:pt x="542561" y="121628"/>
                    </a:lnTo>
                    <a:lnTo>
                      <a:pt x="574244" y="138850"/>
                    </a:lnTo>
                    <a:lnTo>
                      <a:pt x="566323" y="150690"/>
                    </a:lnTo>
                    <a:lnTo>
                      <a:pt x="554442" y="167912"/>
                    </a:lnTo>
                    <a:lnTo>
                      <a:pt x="571604" y="189439"/>
                    </a:lnTo>
                    <a:lnTo>
                      <a:pt x="592725" y="220653"/>
                    </a:lnTo>
                    <a:lnTo>
                      <a:pt x="582164" y="213118"/>
                    </a:lnTo>
                    <a:lnTo>
                      <a:pt x="588765" y="224958"/>
                    </a:lnTo>
                    <a:lnTo>
                      <a:pt x="582164" y="235722"/>
                    </a:lnTo>
                    <a:lnTo>
                      <a:pt x="584805" y="250791"/>
                    </a:lnTo>
                    <a:lnTo>
                      <a:pt x="596685" y="265859"/>
                    </a:lnTo>
                    <a:lnTo>
                      <a:pt x="608566" y="270165"/>
                    </a:lnTo>
                    <a:lnTo>
                      <a:pt x="609886" y="285234"/>
                    </a:lnTo>
                    <a:lnTo>
                      <a:pt x="594045" y="298150"/>
                    </a:lnTo>
                    <a:lnTo>
                      <a:pt x="609886" y="303532"/>
                    </a:lnTo>
                    <a:lnTo>
                      <a:pt x="633648" y="313219"/>
                    </a:lnTo>
                    <a:lnTo>
                      <a:pt x="645529" y="328288"/>
                    </a:lnTo>
                    <a:lnTo>
                      <a:pt x="634968" y="355197"/>
                    </a:lnTo>
                    <a:lnTo>
                      <a:pt x="596685" y="405785"/>
                    </a:lnTo>
                    <a:lnTo>
                      <a:pt x="572923" y="437000"/>
                    </a:lnTo>
                    <a:lnTo>
                      <a:pt x="559723" y="431618"/>
                    </a:lnTo>
                    <a:lnTo>
                      <a:pt x="506918" y="448840"/>
                    </a:lnTo>
                    <a:lnTo>
                      <a:pt x="460715" y="463908"/>
                    </a:lnTo>
                    <a:lnTo>
                      <a:pt x="451474" y="450992"/>
                    </a:lnTo>
                    <a:lnTo>
                      <a:pt x="425072" y="443458"/>
                    </a:lnTo>
                    <a:lnTo>
                      <a:pt x="407911" y="438076"/>
                    </a:lnTo>
                    <a:lnTo>
                      <a:pt x="405271" y="412243"/>
                    </a:lnTo>
                    <a:lnTo>
                      <a:pt x="421112" y="403633"/>
                    </a:lnTo>
                    <a:lnTo>
                      <a:pt x="411871" y="382106"/>
                    </a:lnTo>
                    <a:lnTo>
                      <a:pt x="407911" y="358426"/>
                    </a:lnTo>
                    <a:lnTo>
                      <a:pt x="409231" y="335823"/>
                    </a:lnTo>
                    <a:lnTo>
                      <a:pt x="425072" y="325059"/>
                    </a:lnTo>
                    <a:lnTo>
                      <a:pt x="442234" y="318601"/>
                    </a:lnTo>
                    <a:lnTo>
                      <a:pt x="464675" y="284157"/>
                    </a:lnTo>
                    <a:lnTo>
                      <a:pt x="480517" y="261554"/>
                    </a:lnTo>
                    <a:lnTo>
                      <a:pt x="489757" y="262630"/>
                    </a:lnTo>
                    <a:lnTo>
                      <a:pt x="491077" y="240027"/>
                    </a:lnTo>
                    <a:lnTo>
                      <a:pt x="477876" y="227111"/>
                    </a:lnTo>
                    <a:lnTo>
                      <a:pt x="452795" y="224958"/>
                    </a:lnTo>
                    <a:lnTo>
                      <a:pt x="425072" y="227111"/>
                    </a:lnTo>
                    <a:lnTo>
                      <a:pt x="406591" y="242180"/>
                    </a:lnTo>
                    <a:lnTo>
                      <a:pt x="415832" y="248638"/>
                    </a:lnTo>
                    <a:lnTo>
                      <a:pt x="405271" y="264783"/>
                    </a:lnTo>
                    <a:lnTo>
                      <a:pt x="418472" y="279852"/>
                    </a:lnTo>
                    <a:lnTo>
                      <a:pt x="402631" y="290615"/>
                    </a:lnTo>
                    <a:lnTo>
                      <a:pt x="398670" y="309990"/>
                    </a:lnTo>
                    <a:lnTo>
                      <a:pt x="386790" y="307837"/>
                    </a:lnTo>
                    <a:lnTo>
                      <a:pt x="353787" y="331517"/>
                    </a:lnTo>
                    <a:lnTo>
                      <a:pt x="330025" y="335823"/>
                    </a:lnTo>
                    <a:lnTo>
                      <a:pt x="337946" y="356273"/>
                    </a:lnTo>
                    <a:lnTo>
                      <a:pt x="327385" y="364884"/>
                    </a:lnTo>
                    <a:lnTo>
                      <a:pt x="314184" y="362731"/>
                    </a:lnTo>
                    <a:lnTo>
                      <a:pt x="314184" y="386411"/>
                    </a:lnTo>
                    <a:lnTo>
                      <a:pt x="304943" y="404709"/>
                    </a:lnTo>
                    <a:lnTo>
                      <a:pt x="310224" y="432694"/>
                    </a:lnTo>
                    <a:lnTo>
                      <a:pt x="339266" y="449916"/>
                    </a:lnTo>
                    <a:lnTo>
                      <a:pt x="355107" y="461755"/>
                    </a:lnTo>
                    <a:lnTo>
                      <a:pt x="345867" y="476825"/>
                    </a:lnTo>
                    <a:lnTo>
                      <a:pt x="323425" y="482207"/>
                    </a:lnTo>
                    <a:lnTo>
                      <a:pt x="302303" y="474672"/>
                    </a:lnTo>
                    <a:lnTo>
                      <a:pt x="275901" y="480054"/>
                    </a:lnTo>
                    <a:lnTo>
                      <a:pt x="294382" y="481130"/>
                    </a:lnTo>
                    <a:lnTo>
                      <a:pt x="315504" y="488665"/>
                    </a:lnTo>
                    <a:lnTo>
                      <a:pt x="337946" y="494046"/>
                    </a:lnTo>
                    <a:lnTo>
                      <a:pt x="322105" y="502657"/>
                    </a:lnTo>
                    <a:lnTo>
                      <a:pt x="302303" y="513421"/>
                    </a:lnTo>
                    <a:lnTo>
                      <a:pt x="279862" y="508039"/>
                    </a:lnTo>
                    <a:lnTo>
                      <a:pt x="290422" y="531719"/>
                    </a:lnTo>
                    <a:lnTo>
                      <a:pt x="293062" y="566162"/>
                    </a:lnTo>
                    <a:lnTo>
                      <a:pt x="267980" y="617826"/>
                    </a:lnTo>
                    <a:lnTo>
                      <a:pt x="224417" y="615674"/>
                    </a:lnTo>
                    <a:lnTo>
                      <a:pt x="216497" y="639354"/>
                    </a:lnTo>
                    <a:lnTo>
                      <a:pt x="180854" y="646888"/>
                    </a:lnTo>
                    <a:lnTo>
                      <a:pt x="171613" y="618903"/>
                    </a:lnTo>
                    <a:lnTo>
                      <a:pt x="174254" y="604910"/>
                    </a:lnTo>
                    <a:lnTo>
                      <a:pt x="186134" y="601681"/>
                    </a:lnTo>
                    <a:lnTo>
                      <a:pt x="168973" y="579078"/>
                    </a:lnTo>
                    <a:lnTo>
                      <a:pt x="157092" y="550016"/>
                    </a:lnTo>
                    <a:lnTo>
                      <a:pt x="157092" y="528489"/>
                    </a:lnTo>
                    <a:lnTo>
                      <a:pt x="145211" y="512344"/>
                    </a:lnTo>
                    <a:lnTo>
                      <a:pt x="146531" y="494046"/>
                    </a:lnTo>
                    <a:lnTo>
                      <a:pt x="142571" y="482207"/>
                    </a:lnTo>
                    <a:lnTo>
                      <a:pt x="147852" y="457450"/>
                    </a:lnTo>
                    <a:lnTo>
                      <a:pt x="139931" y="452069"/>
                    </a:lnTo>
                    <a:lnTo>
                      <a:pt x="130690" y="478977"/>
                    </a:lnTo>
                    <a:lnTo>
                      <a:pt x="109569" y="489741"/>
                    </a:lnTo>
                    <a:lnTo>
                      <a:pt x="88447" y="508039"/>
                    </a:lnTo>
                    <a:lnTo>
                      <a:pt x="64685" y="517726"/>
                    </a:lnTo>
                    <a:lnTo>
                      <a:pt x="44884" y="527413"/>
                    </a:lnTo>
                    <a:lnTo>
                      <a:pt x="27723" y="511268"/>
                    </a:lnTo>
                    <a:lnTo>
                      <a:pt x="1320" y="491894"/>
                    </a:lnTo>
                    <a:lnTo>
                      <a:pt x="1320" y="471443"/>
                    </a:lnTo>
                    <a:lnTo>
                      <a:pt x="15842" y="470367"/>
                    </a:lnTo>
                    <a:lnTo>
                      <a:pt x="26402" y="464985"/>
                    </a:lnTo>
                    <a:lnTo>
                      <a:pt x="22442" y="454221"/>
                    </a:lnTo>
                    <a:lnTo>
                      <a:pt x="11881" y="461755"/>
                    </a:lnTo>
                    <a:lnTo>
                      <a:pt x="1320" y="462832"/>
                    </a:lnTo>
                    <a:lnTo>
                      <a:pt x="0" y="448840"/>
                    </a:lnTo>
                    <a:lnTo>
                      <a:pt x="15842" y="448840"/>
                    </a:lnTo>
                    <a:lnTo>
                      <a:pt x="11881" y="441305"/>
                    </a:lnTo>
                    <a:lnTo>
                      <a:pt x="19802" y="435923"/>
                    </a:lnTo>
                    <a:lnTo>
                      <a:pt x="21122" y="428389"/>
                    </a:lnTo>
                    <a:lnTo>
                      <a:pt x="5281" y="432694"/>
                    </a:lnTo>
                    <a:lnTo>
                      <a:pt x="15842" y="416549"/>
                    </a:lnTo>
                    <a:lnTo>
                      <a:pt x="22442" y="404709"/>
                    </a:lnTo>
                    <a:lnTo>
                      <a:pt x="7921" y="410091"/>
                    </a:lnTo>
                    <a:lnTo>
                      <a:pt x="9241" y="392869"/>
                    </a:lnTo>
                    <a:lnTo>
                      <a:pt x="23762" y="389640"/>
                    </a:lnTo>
                    <a:lnTo>
                      <a:pt x="40923" y="396098"/>
                    </a:lnTo>
                    <a:lnTo>
                      <a:pt x="55444" y="391793"/>
                    </a:lnTo>
                    <a:lnTo>
                      <a:pt x="42244" y="385335"/>
                    </a:lnTo>
                    <a:lnTo>
                      <a:pt x="18482" y="383182"/>
                    </a:lnTo>
                    <a:lnTo>
                      <a:pt x="15842" y="368113"/>
                    </a:lnTo>
                    <a:lnTo>
                      <a:pt x="26402" y="363808"/>
                    </a:lnTo>
                    <a:lnTo>
                      <a:pt x="30363" y="350891"/>
                    </a:lnTo>
                    <a:lnTo>
                      <a:pt x="50164" y="347662"/>
                    </a:lnTo>
                    <a:lnTo>
                      <a:pt x="63365" y="344433"/>
                    </a:lnTo>
                    <a:lnTo>
                      <a:pt x="60725" y="331517"/>
                    </a:lnTo>
                    <a:lnTo>
                      <a:pt x="76566" y="339052"/>
                    </a:lnTo>
                    <a:lnTo>
                      <a:pt x="89767" y="337975"/>
                    </a:lnTo>
                    <a:lnTo>
                      <a:pt x="69966" y="325059"/>
                    </a:lnTo>
                    <a:lnTo>
                      <a:pt x="81847" y="316448"/>
                    </a:lnTo>
                    <a:lnTo>
                      <a:pt x="92407" y="323983"/>
                    </a:lnTo>
                    <a:lnTo>
                      <a:pt x="112209" y="332594"/>
                    </a:lnTo>
                    <a:lnTo>
                      <a:pt x="109569" y="316448"/>
                    </a:lnTo>
                    <a:lnTo>
                      <a:pt x="124090" y="311067"/>
                    </a:lnTo>
                    <a:lnTo>
                      <a:pt x="138611" y="303532"/>
                    </a:lnTo>
                    <a:lnTo>
                      <a:pt x="146531" y="313219"/>
                    </a:lnTo>
                    <a:lnTo>
                      <a:pt x="150492" y="302456"/>
                    </a:lnTo>
                    <a:lnTo>
                      <a:pt x="168973" y="298150"/>
                    </a:lnTo>
                    <a:lnTo>
                      <a:pt x="179534" y="301379"/>
                    </a:lnTo>
                    <a:lnTo>
                      <a:pt x="184814" y="288463"/>
                    </a:lnTo>
                    <a:lnTo>
                      <a:pt x="166333" y="297074"/>
                    </a:lnTo>
                    <a:lnTo>
                      <a:pt x="154452" y="289539"/>
                    </a:lnTo>
                    <a:lnTo>
                      <a:pt x="162373" y="278776"/>
                    </a:lnTo>
                    <a:lnTo>
                      <a:pt x="180854" y="266936"/>
                    </a:lnTo>
                    <a:lnTo>
                      <a:pt x="184814" y="278776"/>
                    </a:lnTo>
                    <a:lnTo>
                      <a:pt x="196695" y="270165"/>
                    </a:lnTo>
                    <a:lnTo>
                      <a:pt x="191415" y="262630"/>
                    </a:lnTo>
                    <a:lnTo>
                      <a:pt x="205936" y="250791"/>
                    </a:lnTo>
                    <a:lnTo>
                      <a:pt x="219137" y="249714"/>
                    </a:lnTo>
                    <a:lnTo>
                      <a:pt x="228377" y="238951"/>
                    </a:lnTo>
                    <a:lnTo>
                      <a:pt x="213857" y="237874"/>
                    </a:lnTo>
                    <a:lnTo>
                      <a:pt x="219137" y="226035"/>
                    </a:lnTo>
                    <a:lnTo>
                      <a:pt x="229698" y="218500"/>
                    </a:lnTo>
                    <a:lnTo>
                      <a:pt x="220457" y="208813"/>
                    </a:lnTo>
                    <a:lnTo>
                      <a:pt x="233658" y="205584"/>
                    </a:lnTo>
                    <a:lnTo>
                      <a:pt x="244219" y="210966"/>
                    </a:lnTo>
                    <a:lnTo>
                      <a:pt x="258740" y="201278"/>
                    </a:lnTo>
                    <a:lnTo>
                      <a:pt x="236298" y="203431"/>
                    </a:lnTo>
                    <a:lnTo>
                      <a:pt x="245539" y="189439"/>
                    </a:lnTo>
                    <a:lnTo>
                      <a:pt x="258740" y="182981"/>
                    </a:lnTo>
                    <a:lnTo>
                      <a:pt x="253459" y="174370"/>
                    </a:lnTo>
                    <a:lnTo>
                      <a:pt x="267980" y="172217"/>
                    </a:lnTo>
                    <a:lnTo>
                      <a:pt x="282502" y="165759"/>
                    </a:lnTo>
                    <a:lnTo>
                      <a:pt x="262700" y="164682"/>
                    </a:lnTo>
                    <a:lnTo>
                      <a:pt x="271941" y="156072"/>
                    </a:lnTo>
                    <a:lnTo>
                      <a:pt x="285142" y="159301"/>
                    </a:lnTo>
                    <a:lnTo>
                      <a:pt x="295703" y="149614"/>
                    </a:lnTo>
                    <a:lnTo>
                      <a:pt x="293062" y="141003"/>
                    </a:lnTo>
                    <a:lnTo>
                      <a:pt x="269301" y="151766"/>
                    </a:lnTo>
                    <a:lnTo>
                      <a:pt x="266661" y="141003"/>
                    </a:lnTo>
                    <a:lnTo>
                      <a:pt x="287782" y="136697"/>
                    </a:lnTo>
                    <a:lnTo>
                      <a:pt x="308904" y="132392"/>
                    </a:lnTo>
                    <a:lnTo>
                      <a:pt x="293062" y="130239"/>
                    </a:lnTo>
                    <a:lnTo>
                      <a:pt x="300983" y="120552"/>
                    </a:lnTo>
                    <a:lnTo>
                      <a:pt x="317509" y="118479"/>
                    </a:lnTo>
                    <a:lnTo>
                      <a:pt x="319464" y="119476"/>
                    </a:lnTo>
                    <a:lnTo>
                      <a:pt x="335306" y="116246"/>
                    </a:lnTo>
                    <a:lnTo>
                      <a:pt x="317509" y="118479"/>
                    </a:lnTo>
                    <a:lnTo>
                      <a:pt x="308904" y="114094"/>
                    </a:lnTo>
                    <a:lnTo>
                      <a:pt x="294382" y="113017"/>
                    </a:lnTo>
                    <a:lnTo>
                      <a:pt x="279862" y="111941"/>
                    </a:lnTo>
                    <a:lnTo>
                      <a:pt x="285142" y="103330"/>
                    </a:lnTo>
                    <a:lnTo>
                      <a:pt x="299663" y="103330"/>
                    </a:lnTo>
                    <a:lnTo>
                      <a:pt x="308904" y="99025"/>
                    </a:lnTo>
                    <a:lnTo>
                      <a:pt x="314184" y="108712"/>
                    </a:lnTo>
                    <a:lnTo>
                      <a:pt x="330025" y="111941"/>
                    </a:lnTo>
                    <a:lnTo>
                      <a:pt x="330025" y="99025"/>
                    </a:lnTo>
                    <a:lnTo>
                      <a:pt x="339266" y="95796"/>
                    </a:lnTo>
                    <a:lnTo>
                      <a:pt x="343226" y="83956"/>
                    </a:lnTo>
                    <a:lnTo>
                      <a:pt x="357747" y="76422"/>
                    </a:lnTo>
                    <a:lnTo>
                      <a:pt x="366988" y="82880"/>
                    </a:lnTo>
                    <a:lnTo>
                      <a:pt x="378869" y="91490"/>
                    </a:lnTo>
                    <a:lnTo>
                      <a:pt x="380189" y="78574"/>
                    </a:lnTo>
                    <a:lnTo>
                      <a:pt x="399990" y="81803"/>
                    </a:lnTo>
                    <a:lnTo>
                      <a:pt x="384149" y="69963"/>
                    </a:lnTo>
                    <a:lnTo>
                      <a:pt x="392070" y="58124"/>
                    </a:lnTo>
                    <a:lnTo>
                      <a:pt x="397351" y="65658"/>
                    </a:lnTo>
                    <a:lnTo>
                      <a:pt x="402631" y="57047"/>
                    </a:lnTo>
                    <a:lnTo>
                      <a:pt x="415832" y="68887"/>
                    </a:lnTo>
                    <a:lnTo>
                      <a:pt x="405271" y="52742"/>
                    </a:lnTo>
                    <a:lnTo>
                      <a:pt x="396030" y="46284"/>
                    </a:lnTo>
                    <a:lnTo>
                      <a:pt x="406591" y="39826"/>
                    </a:lnTo>
                    <a:lnTo>
                      <a:pt x="427713" y="45207"/>
                    </a:lnTo>
                    <a:lnTo>
                      <a:pt x="442234" y="61353"/>
                    </a:lnTo>
                    <a:lnTo>
                      <a:pt x="434313" y="49513"/>
                    </a:lnTo>
                    <a:lnTo>
                      <a:pt x="440913" y="35520"/>
                    </a:lnTo>
                    <a:lnTo>
                      <a:pt x="455435" y="35520"/>
                    </a:lnTo>
                    <a:lnTo>
                      <a:pt x="446194" y="24757"/>
                    </a:lnTo>
                    <a:lnTo>
                      <a:pt x="455435" y="12917"/>
                    </a:lnTo>
                    <a:lnTo>
                      <a:pt x="475236" y="16146"/>
                    </a:lnTo>
                    <a:lnTo>
                      <a:pt x="465995" y="37673"/>
                    </a:lnTo>
                    <a:lnTo>
                      <a:pt x="471276" y="53818"/>
                    </a:lnTo>
                    <a:lnTo>
                      <a:pt x="484477" y="23680"/>
                    </a:lnTo>
                    <a:lnTo>
                      <a:pt x="491077" y="13993"/>
                    </a:lnTo>
                    <a:lnTo>
                      <a:pt x="491077" y="37673"/>
                    </a:lnTo>
                    <a:lnTo>
                      <a:pt x="496358" y="27986"/>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grpSp>
        <p:grpSp>
          <p:nvGrpSpPr>
            <p:cNvPr id="301" name="Gruppe 25"/>
            <p:cNvGrpSpPr/>
            <p:nvPr/>
          </p:nvGrpSpPr>
          <p:grpSpPr>
            <a:xfrm>
              <a:off x="1066509" y="1391814"/>
              <a:ext cx="2951141" cy="2038968"/>
              <a:chOff x="971600" y="1062985"/>
              <a:chExt cx="2951141" cy="2038968"/>
            </a:xfrm>
            <a:grpFill/>
          </p:grpSpPr>
          <p:sp>
            <p:nvSpPr>
              <p:cNvPr id="321" name="Friform 26"/>
              <p:cNvSpPr/>
              <p:nvPr/>
            </p:nvSpPr>
            <p:spPr bwMode="auto">
              <a:xfrm>
                <a:off x="1913327" y="2581487"/>
                <a:ext cx="784229" cy="520466"/>
              </a:xfrm>
              <a:custGeom>
                <a:avLst/>
                <a:gdLst>
                  <a:gd name="connsiteX0" fmla="*/ 0 w 1000642"/>
                  <a:gd name="connsiteY0" fmla="*/ 0 h 664092"/>
                  <a:gd name="connsiteX1" fmla="*/ 375186 w 1000642"/>
                  <a:gd name="connsiteY1" fmla="*/ 50701 h 664092"/>
                  <a:gd name="connsiteX2" fmla="*/ 528123 w 1000642"/>
                  <a:gd name="connsiteY2" fmla="*/ 130993 h 664092"/>
                  <a:gd name="connsiteX3" fmla="*/ 518042 w 1000642"/>
                  <a:gd name="connsiteY3" fmla="*/ 137042 h 664092"/>
                  <a:gd name="connsiteX4" fmla="*/ 498992 w 1000642"/>
                  <a:gd name="connsiteY4" fmla="*/ 308492 h 664092"/>
                  <a:gd name="connsiteX5" fmla="*/ 562492 w 1000642"/>
                  <a:gd name="connsiteY5" fmla="*/ 378342 h 664092"/>
                  <a:gd name="connsiteX6" fmla="*/ 625992 w 1000642"/>
                  <a:gd name="connsiteY6" fmla="*/ 371992 h 664092"/>
                  <a:gd name="connsiteX7" fmla="*/ 657742 w 1000642"/>
                  <a:gd name="connsiteY7" fmla="*/ 371992 h 664092"/>
                  <a:gd name="connsiteX8" fmla="*/ 689492 w 1000642"/>
                  <a:gd name="connsiteY8" fmla="*/ 321192 h 664092"/>
                  <a:gd name="connsiteX9" fmla="*/ 772042 w 1000642"/>
                  <a:gd name="connsiteY9" fmla="*/ 327542 h 664092"/>
                  <a:gd name="connsiteX10" fmla="*/ 714892 w 1000642"/>
                  <a:gd name="connsiteY10" fmla="*/ 448192 h 664092"/>
                  <a:gd name="connsiteX11" fmla="*/ 803792 w 1000642"/>
                  <a:gd name="connsiteY11" fmla="*/ 441842 h 664092"/>
                  <a:gd name="connsiteX12" fmla="*/ 848242 w 1000642"/>
                  <a:gd name="connsiteY12" fmla="*/ 467242 h 664092"/>
                  <a:gd name="connsiteX13" fmla="*/ 841892 w 1000642"/>
                  <a:gd name="connsiteY13" fmla="*/ 562492 h 664092"/>
                  <a:gd name="connsiteX14" fmla="*/ 918092 w 1000642"/>
                  <a:gd name="connsiteY14" fmla="*/ 625992 h 664092"/>
                  <a:gd name="connsiteX15" fmla="*/ 1000642 w 1000642"/>
                  <a:gd name="connsiteY15" fmla="*/ 657742 h 664092"/>
                  <a:gd name="connsiteX16" fmla="*/ 930792 w 1000642"/>
                  <a:gd name="connsiteY16" fmla="*/ 664092 h 664092"/>
                  <a:gd name="connsiteX17" fmla="*/ 797442 w 1000642"/>
                  <a:gd name="connsiteY17" fmla="*/ 581542 h 664092"/>
                  <a:gd name="connsiteX18" fmla="*/ 746642 w 1000642"/>
                  <a:gd name="connsiteY18" fmla="*/ 524392 h 664092"/>
                  <a:gd name="connsiteX19" fmla="*/ 651392 w 1000642"/>
                  <a:gd name="connsiteY19" fmla="*/ 498992 h 664092"/>
                  <a:gd name="connsiteX20" fmla="*/ 587892 w 1000642"/>
                  <a:gd name="connsiteY20" fmla="*/ 435492 h 664092"/>
                  <a:gd name="connsiteX21" fmla="*/ 511692 w 1000642"/>
                  <a:gd name="connsiteY21" fmla="*/ 441842 h 664092"/>
                  <a:gd name="connsiteX22" fmla="*/ 302142 w 1000642"/>
                  <a:gd name="connsiteY22" fmla="*/ 346592 h 664092"/>
                  <a:gd name="connsiteX23" fmla="*/ 314842 w 1000642"/>
                  <a:gd name="connsiteY23" fmla="*/ 276742 h 664092"/>
                  <a:gd name="connsiteX24" fmla="*/ 232292 w 1000642"/>
                  <a:gd name="connsiteY24" fmla="*/ 200542 h 664092"/>
                  <a:gd name="connsiteX25" fmla="*/ 156092 w 1000642"/>
                  <a:gd name="connsiteY25" fmla="*/ 86242 h 664092"/>
                  <a:gd name="connsiteX26" fmla="*/ 73542 w 1000642"/>
                  <a:gd name="connsiteY26" fmla="*/ 35442 h 664092"/>
                  <a:gd name="connsiteX27" fmla="*/ 213242 w 1000642"/>
                  <a:gd name="connsiteY27" fmla="*/ 283092 h 664092"/>
                  <a:gd name="connsiteX28" fmla="*/ 162442 w 1000642"/>
                  <a:gd name="connsiteY28" fmla="*/ 232292 h 664092"/>
                  <a:gd name="connsiteX29" fmla="*/ 117992 w 1000642"/>
                  <a:gd name="connsiteY29" fmla="*/ 149742 h 664092"/>
                  <a:gd name="connsiteX30" fmla="*/ 29092 w 1000642"/>
                  <a:gd name="connsiteY30" fmla="*/ 29092 h 664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0642" h="664092">
                    <a:moveTo>
                      <a:pt x="0" y="0"/>
                    </a:moveTo>
                    <a:lnTo>
                      <a:pt x="375186" y="50701"/>
                    </a:lnTo>
                    <a:lnTo>
                      <a:pt x="528123" y="130993"/>
                    </a:lnTo>
                    <a:lnTo>
                      <a:pt x="518042" y="137042"/>
                    </a:lnTo>
                    <a:lnTo>
                      <a:pt x="498992" y="308492"/>
                    </a:lnTo>
                    <a:lnTo>
                      <a:pt x="562492" y="378342"/>
                    </a:lnTo>
                    <a:lnTo>
                      <a:pt x="625992" y="371992"/>
                    </a:lnTo>
                    <a:lnTo>
                      <a:pt x="657742" y="371992"/>
                    </a:lnTo>
                    <a:lnTo>
                      <a:pt x="689492" y="321192"/>
                    </a:lnTo>
                    <a:lnTo>
                      <a:pt x="772042" y="327542"/>
                    </a:lnTo>
                    <a:lnTo>
                      <a:pt x="714892" y="448192"/>
                    </a:lnTo>
                    <a:lnTo>
                      <a:pt x="803792" y="441842"/>
                    </a:lnTo>
                    <a:lnTo>
                      <a:pt x="848242" y="467242"/>
                    </a:lnTo>
                    <a:lnTo>
                      <a:pt x="841892" y="562492"/>
                    </a:lnTo>
                    <a:lnTo>
                      <a:pt x="918092" y="625992"/>
                    </a:lnTo>
                    <a:lnTo>
                      <a:pt x="1000642" y="657742"/>
                    </a:lnTo>
                    <a:lnTo>
                      <a:pt x="930792" y="664092"/>
                    </a:lnTo>
                    <a:lnTo>
                      <a:pt x="797442" y="581542"/>
                    </a:lnTo>
                    <a:lnTo>
                      <a:pt x="746642" y="524392"/>
                    </a:lnTo>
                    <a:lnTo>
                      <a:pt x="651392" y="498992"/>
                    </a:lnTo>
                    <a:lnTo>
                      <a:pt x="587892" y="435492"/>
                    </a:lnTo>
                    <a:lnTo>
                      <a:pt x="511692" y="441842"/>
                    </a:lnTo>
                    <a:lnTo>
                      <a:pt x="302142" y="346592"/>
                    </a:lnTo>
                    <a:lnTo>
                      <a:pt x="314842" y="276742"/>
                    </a:lnTo>
                    <a:lnTo>
                      <a:pt x="232292" y="200542"/>
                    </a:lnTo>
                    <a:lnTo>
                      <a:pt x="156092" y="86242"/>
                    </a:lnTo>
                    <a:lnTo>
                      <a:pt x="73542" y="35442"/>
                    </a:lnTo>
                    <a:lnTo>
                      <a:pt x="213242" y="283092"/>
                    </a:lnTo>
                    <a:lnTo>
                      <a:pt x="162442" y="232292"/>
                    </a:lnTo>
                    <a:lnTo>
                      <a:pt x="117992" y="149742"/>
                    </a:lnTo>
                    <a:lnTo>
                      <a:pt x="29092" y="29092"/>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2" name="Friform 27"/>
              <p:cNvSpPr/>
              <p:nvPr/>
            </p:nvSpPr>
            <p:spPr bwMode="auto">
              <a:xfrm>
                <a:off x="2751648" y="1062985"/>
                <a:ext cx="1171093" cy="873950"/>
              </a:xfrm>
              <a:custGeom>
                <a:avLst/>
                <a:gdLst>
                  <a:gd name="connsiteX0" fmla="*/ 234176 w 1494264"/>
                  <a:gd name="connsiteY0" fmla="*/ 183995 h 1115122"/>
                  <a:gd name="connsiteX1" fmla="*/ 178420 w 1494264"/>
                  <a:gd name="connsiteY1" fmla="*/ 245327 h 1115122"/>
                  <a:gd name="connsiteX2" fmla="*/ 94786 w 1494264"/>
                  <a:gd name="connsiteY2" fmla="*/ 256478 h 1115122"/>
                  <a:gd name="connsiteX3" fmla="*/ 0 w 1494264"/>
                  <a:gd name="connsiteY3" fmla="*/ 295507 h 1115122"/>
                  <a:gd name="connsiteX4" fmla="*/ 0 w 1494264"/>
                  <a:gd name="connsiteY4" fmla="*/ 295507 h 1115122"/>
                  <a:gd name="connsiteX5" fmla="*/ 128239 w 1494264"/>
                  <a:gd name="connsiteY5" fmla="*/ 351264 h 1115122"/>
                  <a:gd name="connsiteX6" fmla="*/ 206298 w 1494264"/>
                  <a:gd name="connsiteY6" fmla="*/ 351264 h 1115122"/>
                  <a:gd name="connsiteX7" fmla="*/ 44605 w 1494264"/>
                  <a:gd name="connsiteY7" fmla="*/ 362415 h 1115122"/>
                  <a:gd name="connsiteX8" fmla="*/ 100361 w 1494264"/>
                  <a:gd name="connsiteY8" fmla="*/ 401444 h 1115122"/>
                  <a:gd name="connsiteX9" fmla="*/ 200722 w 1494264"/>
                  <a:gd name="connsiteY9" fmla="*/ 390293 h 1115122"/>
                  <a:gd name="connsiteX10" fmla="*/ 94786 w 1494264"/>
                  <a:gd name="connsiteY10" fmla="*/ 418171 h 1115122"/>
                  <a:gd name="connsiteX11" fmla="*/ 161693 w 1494264"/>
                  <a:gd name="connsiteY11" fmla="*/ 429322 h 1115122"/>
                  <a:gd name="connsiteX12" fmla="*/ 356839 w 1494264"/>
                  <a:gd name="connsiteY12" fmla="*/ 440473 h 1115122"/>
                  <a:gd name="connsiteX13" fmla="*/ 434898 w 1494264"/>
                  <a:gd name="connsiteY13" fmla="*/ 535259 h 1115122"/>
                  <a:gd name="connsiteX14" fmla="*/ 451625 w 1494264"/>
                  <a:gd name="connsiteY14" fmla="*/ 607742 h 1115122"/>
                  <a:gd name="connsiteX15" fmla="*/ 412596 w 1494264"/>
                  <a:gd name="connsiteY15" fmla="*/ 646771 h 1115122"/>
                  <a:gd name="connsiteX16" fmla="*/ 412596 w 1494264"/>
                  <a:gd name="connsiteY16" fmla="*/ 646771 h 1115122"/>
                  <a:gd name="connsiteX17" fmla="*/ 512956 w 1494264"/>
                  <a:gd name="connsiteY17" fmla="*/ 630044 h 1115122"/>
                  <a:gd name="connsiteX18" fmla="*/ 568713 w 1494264"/>
                  <a:gd name="connsiteY18" fmla="*/ 674649 h 1115122"/>
                  <a:gd name="connsiteX19" fmla="*/ 473927 w 1494264"/>
                  <a:gd name="connsiteY19" fmla="*/ 657922 h 1115122"/>
                  <a:gd name="connsiteX20" fmla="*/ 473927 w 1494264"/>
                  <a:gd name="connsiteY20" fmla="*/ 657922 h 1115122"/>
                  <a:gd name="connsiteX21" fmla="*/ 563137 w 1494264"/>
                  <a:gd name="connsiteY21" fmla="*/ 719254 h 1115122"/>
                  <a:gd name="connsiteX22" fmla="*/ 535259 w 1494264"/>
                  <a:gd name="connsiteY22" fmla="*/ 775010 h 1115122"/>
                  <a:gd name="connsiteX23" fmla="*/ 563137 w 1494264"/>
                  <a:gd name="connsiteY23" fmla="*/ 802888 h 1115122"/>
                  <a:gd name="connsiteX24" fmla="*/ 507381 w 1494264"/>
                  <a:gd name="connsiteY24" fmla="*/ 786161 h 1115122"/>
                  <a:gd name="connsiteX25" fmla="*/ 507381 w 1494264"/>
                  <a:gd name="connsiteY25" fmla="*/ 786161 h 1115122"/>
                  <a:gd name="connsiteX26" fmla="*/ 529683 w 1494264"/>
                  <a:gd name="connsiteY26" fmla="*/ 847493 h 1115122"/>
                  <a:gd name="connsiteX27" fmla="*/ 473927 w 1494264"/>
                  <a:gd name="connsiteY27" fmla="*/ 853068 h 1115122"/>
                  <a:gd name="connsiteX28" fmla="*/ 518532 w 1494264"/>
                  <a:gd name="connsiteY28" fmla="*/ 931127 h 1115122"/>
                  <a:gd name="connsiteX29" fmla="*/ 563137 w 1494264"/>
                  <a:gd name="connsiteY29" fmla="*/ 914400 h 1115122"/>
                  <a:gd name="connsiteX30" fmla="*/ 524108 w 1494264"/>
                  <a:gd name="connsiteY30" fmla="*/ 959005 h 1115122"/>
                  <a:gd name="connsiteX31" fmla="*/ 585439 w 1494264"/>
                  <a:gd name="connsiteY31" fmla="*/ 1042639 h 1115122"/>
                  <a:gd name="connsiteX32" fmla="*/ 641196 w 1494264"/>
                  <a:gd name="connsiteY32" fmla="*/ 1070517 h 1115122"/>
                  <a:gd name="connsiteX33" fmla="*/ 680225 w 1494264"/>
                  <a:gd name="connsiteY33" fmla="*/ 1042639 h 1115122"/>
                  <a:gd name="connsiteX34" fmla="*/ 680225 w 1494264"/>
                  <a:gd name="connsiteY34" fmla="*/ 1042639 h 1115122"/>
                  <a:gd name="connsiteX35" fmla="*/ 724830 w 1494264"/>
                  <a:gd name="connsiteY35" fmla="*/ 1115122 h 1115122"/>
                  <a:gd name="connsiteX36" fmla="*/ 758283 w 1494264"/>
                  <a:gd name="connsiteY36" fmla="*/ 1031488 h 1115122"/>
                  <a:gd name="connsiteX37" fmla="*/ 735981 w 1494264"/>
                  <a:gd name="connsiteY37" fmla="*/ 981307 h 1115122"/>
                  <a:gd name="connsiteX38" fmla="*/ 791737 w 1494264"/>
                  <a:gd name="connsiteY38" fmla="*/ 981307 h 1115122"/>
                  <a:gd name="connsiteX39" fmla="*/ 814039 w 1494264"/>
                  <a:gd name="connsiteY39" fmla="*/ 931127 h 1115122"/>
                  <a:gd name="connsiteX40" fmla="*/ 769435 w 1494264"/>
                  <a:gd name="connsiteY40" fmla="*/ 886522 h 1115122"/>
                  <a:gd name="connsiteX41" fmla="*/ 836342 w 1494264"/>
                  <a:gd name="connsiteY41" fmla="*/ 903249 h 1115122"/>
                  <a:gd name="connsiteX42" fmla="*/ 853069 w 1494264"/>
                  <a:gd name="connsiteY42" fmla="*/ 847493 h 1115122"/>
                  <a:gd name="connsiteX43" fmla="*/ 886522 w 1494264"/>
                  <a:gd name="connsiteY43" fmla="*/ 903249 h 1115122"/>
                  <a:gd name="connsiteX44" fmla="*/ 992459 w 1494264"/>
                  <a:gd name="connsiteY44" fmla="*/ 775010 h 1115122"/>
                  <a:gd name="connsiteX45" fmla="*/ 992459 w 1494264"/>
                  <a:gd name="connsiteY45" fmla="*/ 775010 h 1115122"/>
                  <a:gd name="connsiteX46" fmla="*/ 992459 w 1494264"/>
                  <a:gd name="connsiteY46" fmla="*/ 775010 h 1115122"/>
                  <a:gd name="connsiteX47" fmla="*/ 1165303 w 1494264"/>
                  <a:gd name="connsiteY47" fmla="*/ 741556 h 1115122"/>
                  <a:gd name="connsiteX48" fmla="*/ 1232210 w 1494264"/>
                  <a:gd name="connsiteY48" fmla="*/ 696951 h 1115122"/>
                  <a:gd name="connsiteX49" fmla="*/ 1170878 w 1494264"/>
                  <a:gd name="connsiteY49" fmla="*/ 685800 h 1115122"/>
                  <a:gd name="connsiteX50" fmla="*/ 1103971 w 1494264"/>
                  <a:gd name="connsiteY50" fmla="*/ 696951 h 1115122"/>
                  <a:gd name="connsiteX51" fmla="*/ 1103971 w 1494264"/>
                  <a:gd name="connsiteY51" fmla="*/ 696951 h 1115122"/>
                  <a:gd name="connsiteX52" fmla="*/ 1148576 w 1494264"/>
                  <a:gd name="connsiteY52" fmla="*/ 669073 h 1115122"/>
                  <a:gd name="connsiteX53" fmla="*/ 1131849 w 1494264"/>
                  <a:gd name="connsiteY53" fmla="*/ 635620 h 1115122"/>
                  <a:gd name="connsiteX54" fmla="*/ 1092820 w 1494264"/>
                  <a:gd name="connsiteY54" fmla="*/ 613317 h 1115122"/>
                  <a:gd name="connsiteX55" fmla="*/ 1176454 w 1494264"/>
                  <a:gd name="connsiteY55" fmla="*/ 635620 h 1115122"/>
                  <a:gd name="connsiteX56" fmla="*/ 1198756 w 1494264"/>
                  <a:gd name="connsiteY56" fmla="*/ 669073 h 1115122"/>
                  <a:gd name="connsiteX57" fmla="*/ 1260088 w 1494264"/>
                  <a:gd name="connsiteY57" fmla="*/ 663498 h 1115122"/>
                  <a:gd name="connsiteX58" fmla="*/ 1209908 w 1494264"/>
                  <a:gd name="connsiteY58" fmla="*/ 613317 h 1115122"/>
                  <a:gd name="connsiteX59" fmla="*/ 1137425 w 1494264"/>
                  <a:gd name="connsiteY59" fmla="*/ 563137 h 1115122"/>
                  <a:gd name="connsiteX60" fmla="*/ 1193181 w 1494264"/>
                  <a:gd name="connsiteY60" fmla="*/ 535259 h 1115122"/>
                  <a:gd name="connsiteX61" fmla="*/ 1248937 w 1494264"/>
                  <a:gd name="connsiteY61" fmla="*/ 563137 h 1115122"/>
                  <a:gd name="connsiteX62" fmla="*/ 1304693 w 1494264"/>
                  <a:gd name="connsiteY62" fmla="*/ 551986 h 1115122"/>
                  <a:gd name="connsiteX63" fmla="*/ 1299117 w 1494264"/>
                  <a:gd name="connsiteY63" fmla="*/ 518532 h 1115122"/>
                  <a:gd name="connsiteX64" fmla="*/ 1237786 w 1494264"/>
                  <a:gd name="connsiteY64" fmla="*/ 518532 h 1115122"/>
                  <a:gd name="connsiteX65" fmla="*/ 1260088 w 1494264"/>
                  <a:gd name="connsiteY65" fmla="*/ 479503 h 1115122"/>
                  <a:gd name="connsiteX66" fmla="*/ 1321420 w 1494264"/>
                  <a:gd name="connsiteY66" fmla="*/ 507381 h 1115122"/>
                  <a:gd name="connsiteX67" fmla="*/ 1338147 w 1494264"/>
                  <a:gd name="connsiteY67" fmla="*/ 479503 h 1115122"/>
                  <a:gd name="connsiteX68" fmla="*/ 1271239 w 1494264"/>
                  <a:gd name="connsiteY68" fmla="*/ 451625 h 1115122"/>
                  <a:gd name="connsiteX69" fmla="*/ 1304693 w 1494264"/>
                  <a:gd name="connsiteY69" fmla="*/ 418171 h 1115122"/>
                  <a:gd name="connsiteX70" fmla="*/ 1248937 w 1494264"/>
                  <a:gd name="connsiteY70" fmla="*/ 384717 h 1115122"/>
                  <a:gd name="connsiteX71" fmla="*/ 1310269 w 1494264"/>
                  <a:gd name="connsiteY71" fmla="*/ 373566 h 1115122"/>
                  <a:gd name="connsiteX72" fmla="*/ 1310269 w 1494264"/>
                  <a:gd name="connsiteY72" fmla="*/ 373566 h 1115122"/>
                  <a:gd name="connsiteX73" fmla="*/ 1338147 w 1494264"/>
                  <a:gd name="connsiteY73" fmla="*/ 356839 h 1115122"/>
                  <a:gd name="connsiteX74" fmla="*/ 1293542 w 1494264"/>
                  <a:gd name="connsiteY74" fmla="*/ 323386 h 1115122"/>
                  <a:gd name="connsiteX75" fmla="*/ 1293542 w 1494264"/>
                  <a:gd name="connsiteY75" fmla="*/ 323386 h 1115122"/>
                  <a:gd name="connsiteX76" fmla="*/ 1299117 w 1494264"/>
                  <a:gd name="connsiteY76" fmla="*/ 267629 h 1115122"/>
                  <a:gd name="connsiteX77" fmla="*/ 1354874 w 1494264"/>
                  <a:gd name="connsiteY77" fmla="*/ 217449 h 1115122"/>
                  <a:gd name="connsiteX78" fmla="*/ 1299117 w 1494264"/>
                  <a:gd name="connsiteY78" fmla="*/ 195146 h 1115122"/>
                  <a:gd name="connsiteX79" fmla="*/ 1388327 w 1494264"/>
                  <a:gd name="connsiteY79" fmla="*/ 183995 h 1115122"/>
                  <a:gd name="connsiteX80" fmla="*/ 1494264 w 1494264"/>
                  <a:gd name="connsiteY80" fmla="*/ 128239 h 1115122"/>
                  <a:gd name="connsiteX81" fmla="*/ 1382752 w 1494264"/>
                  <a:gd name="connsiteY81" fmla="*/ 94786 h 1115122"/>
                  <a:gd name="connsiteX82" fmla="*/ 1326996 w 1494264"/>
                  <a:gd name="connsiteY82" fmla="*/ 133815 h 1115122"/>
                  <a:gd name="connsiteX83" fmla="*/ 1276815 w 1494264"/>
                  <a:gd name="connsiteY83" fmla="*/ 128239 h 1115122"/>
                  <a:gd name="connsiteX84" fmla="*/ 1193181 w 1494264"/>
                  <a:gd name="connsiteY84" fmla="*/ 183995 h 1115122"/>
                  <a:gd name="connsiteX85" fmla="*/ 1248937 w 1494264"/>
                  <a:gd name="connsiteY85" fmla="*/ 117088 h 1115122"/>
                  <a:gd name="connsiteX86" fmla="*/ 1198756 w 1494264"/>
                  <a:gd name="connsiteY86" fmla="*/ 100361 h 1115122"/>
                  <a:gd name="connsiteX87" fmla="*/ 1098396 w 1494264"/>
                  <a:gd name="connsiteY87" fmla="*/ 150542 h 1115122"/>
                  <a:gd name="connsiteX88" fmla="*/ 1126274 w 1494264"/>
                  <a:gd name="connsiteY88" fmla="*/ 105937 h 1115122"/>
                  <a:gd name="connsiteX89" fmla="*/ 925552 w 1494264"/>
                  <a:gd name="connsiteY89" fmla="*/ 122664 h 1115122"/>
                  <a:gd name="connsiteX90" fmla="*/ 1053791 w 1494264"/>
                  <a:gd name="connsiteY90" fmla="*/ 89210 h 1115122"/>
                  <a:gd name="connsiteX91" fmla="*/ 1248937 w 1494264"/>
                  <a:gd name="connsiteY91" fmla="*/ 83634 h 1115122"/>
                  <a:gd name="connsiteX92" fmla="*/ 1148576 w 1494264"/>
                  <a:gd name="connsiteY92" fmla="*/ 44605 h 1115122"/>
                  <a:gd name="connsiteX93" fmla="*/ 931127 w 1494264"/>
                  <a:gd name="connsiteY93" fmla="*/ 44605 h 1115122"/>
                  <a:gd name="connsiteX94" fmla="*/ 1076093 w 1494264"/>
                  <a:gd name="connsiteY94" fmla="*/ 11151 h 1115122"/>
                  <a:gd name="connsiteX95" fmla="*/ 841917 w 1494264"/>
                  <a:gd name="connsiteY95" fmla="*/ 0 h 1115122"/>
                  <a:gd name="connsiteX96" fmla="*/ 825191 w 1494264"/>
                  <a:gd name="connsiteY96" fmla="*/ 55756 h 1115122"/>
                  <a:gd name="connsiteX97" fmla="*/ 791737 w 1494264"/>
                  <a:gd name="connsiteY97" fmla="*/ 89210 h 1115122"/>
                  <a:gd name="connsiteX98" fmla="*/ 719254 w 1494264"/>
                  <a:gd name="connsiteY98" fmla="*/ 16727 h 1115122"/>
                  <a:gd name="connsiteX99" fmla="*/ 657922 w 1494264"/>
                  <a:gd name="connsiteY99" fmla="*/ 27878 h 1115122"/>
                  <a:gd name="connsiteX100" fmla="*/ 708103 w 1494264"/>
                  <a:gd name="connsiteY100" fmla="*/ 100361 h 1115122"/>
                  <a:gd name="connsiteX101" fmla="*/ 708103 w 1494264"/>
                  <a:gd name="connsiteY101" fmla="*/ 100361 h 1115122"/>
                  <a:gd name="connsiteX102" fmla="*/ 540835 w 1494264"/>
                  <a:gd name="connsiteY102" fmla="*/ 55756 h 1115122"/>
                  <a:gd name="connsiteX103" fmla="*/ 579864 w 1494264"/>
                  <a:gd name="connsiteY103" fmla="*/ 122664 h 1115122"/>
                  <a:gd name="connsiteX104" fmla="*/ 518532 w 1494264"/>
                  <a:gd name="connsiteY104" fmla="*/ 94786 h 1115122"/>
                  <a:gd name="connsiteX105" fmla="*/ 518532 w 1494264"/>
                  <a:gd name="connsiteY105" fmla="*/ 94786 h 1115122"/>
                  <a:gd name="connsiteX106" fmla="*/ 479503 w 1494264"/>
                  <a:gd name="connsiteY106" fmla="*/ 139390 h 1115122"/>
                  <a:gd name="connsiteX107" fmla="*/ 457200 w 1494264"/>
                  <a:gd name="connsiteY107" fmla="*/ 83634 h 1115122"/>
                  <a:gd name="connsiteX108" fmla="*/ 412596 w 1494264"/>
                  <a:gd name="connsiteY108" fmla="*/ 83634 h 1115122"/>
                  <a:gd name="connsiteX109" fmla="*/ 351264 w 1494264"/>
                  <a:gd name="connsiteY109" fmla="*/ 78059 h 1115122"/>
                  <a:gd name="connsiteX110" fmla="*/ 407020 w 1494264"/>
                  <a:gd name="connsiteY110" fmla="*/ 150542 h 1115122"/>
                  <a:gd name="connsiteX111" fmla="*/ 345688 w 1494264"/>
                  <a:gd name="connsiteY111" fmla="*/ 105937 h 1115122"/>
                  <a:gd name="connsiteX112" fmla="*/ 306659 w 1494264"/>
                  <a:gd name="connsiteY112" fmla="*/ 111512 h 1115122"/>
                  <a:gd name="connsiteX113" fmla="*/ 312235 w 1494264"/>
                  <a:gd name="connsiteY113" fmla="*/ 167268 h 1115122"/>
                  <a:gd name="connsiteX114" fmla="*/ 267630 w 1494264"/>
                  <a:gd name="connsiteY114" fmla="*/ 133815 h 1115122"/>
                  <a:gd name="connsiteX115" fmla="*/ 178420 w 1494264"/>
                  <a:gd name="connsiteY115" fmla="*/ 156117 h 1115122"/>
                  <a:gd name="connsiteX116" fmla="*/ 234176 w 1494264"/>
                  <a:gd name="connsiteY116" fmla="*/ 183995 h 111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494264" h="1115122">
                    <a:moveTo>
                      <a:pt x="234176" y="183995"/>
                    </a:moveTo>
                    <a:lnTo>
                      <a:pt x="178420" y="245327"/>
                    </a:lnTo>
                    <a:lnTo>
                      <a:pt x="94786" y="256478"/>
                    </a:lnTo>
                    <a:lnTo>
                      <a:pt x="0" y="295507"/>
                    </a:lnTo>
                    <a:lnTo>
                      <a:pt x="0" y="295507"/>
                    </a:lnTo>
                    <a:lnTo>
                      <a:pt x="128239" y="351264"/>
                    </a:lnTo>
                    <a:lnTo>
                      <a:pt x="206298" y="351264"/>
                    </a:lnTo>
                    <a:lnTo>
                      <a:pt x="44605" y="362415"/>
                    </a:lnTo>
                    <a:lnTo>
                      <a:pt x="100361" y="401444"/>
                    </a:lnTo>
                    <a:lnTo>
                      <a:pt x="200722" y="390293"/>
                    </a:lnTo>
                    <a:lnTo>
                      <a:pt x="94786" y="418171"/>
                    </a:lnTo>
                    <a:lnTo>
                      <a:pt x="161693" y="429322"/>
                    </a:lnTo>
                    <a:lnTo>
                      <a:pt x="356839" y="440473"/>
                    </a:lnTo>
                    <a:lnTo>
                      <a:pt x="434898" y="535259"/>
                    </a:lnTo>
                    <a:lnTo>
                      <a:pt x="451625" y="607742"/>
                    </a:lnTo>
                    <a:lnTo>
                      <a:pt x="412596" y="646771"/>
                    </a:lnTo>
                    <a:lnTo>
                      <a:pt x="412596" y="646771"/>
                    </a:lnTo>
                    <a:lnTo>
                      <a:pt x="512956" y="630044"/>
                    </a:lnTo>
                    <a:lnTo>
                      <a:pt x="568713" y="674649"/>
                    </a:lnTo>
                    <a:lnTo>
                      <a:pt x="473927" y="657922"/>
                    </a:lnTo>
                    <a:lnTo>
                      <a:pt x="473927" y="657922"/>
                    </a:lnTo>
                    <a:lnTo>
                      <a:pt x="563137" y="719254"/>
                    </a:lnTo>
                    <a:lnTo>
                      <a:pt x="535259" y="775010"/>
                    </a:lnTo>
                    <a:lnTo>
                      <a:pt x="563137" y="802888"/>
                    </a:lnTo>
                    <a:lnTo>
                      <a:pt x="507381" y="786161"/>
                    </a:lnTo>
                    <a:lnTo>
                      <a:pt x="507381" y="786161"/>
                    </a:lnTo>
                    <a:lnTo>
                      <a:pt x="529683" y="847493"/>
                    </a:lnTo>
                    <a:lnTo>
                      <a:pt x="473927" y="853068"/>
                    </a:lnTo>
                    <a:lnTo>
                      <a:pt x="518532" y="931127"/>
                    </a:lnTo>
                    <a:lnTo>
                      <a:pt x="563137" y="914400"/>
                    </a:lnTo>
                    <a:lnTo>
                      <a:pt x="524108" y="959005"/>
                    </a:lnTo>
                    <a:lnTo>
                      <a:pt x="585439" y="1042639"/>
                    </a:lnTo>
                    <a:lnTo>
                      <a:pt x="641196" y="1070517"/>
                    </a:lnTo>
                    <a:lnTo>
                      <a:pt x="680225" y="1042639"/>
                    </a:lnTo>
                    <a:lnTo>
                      <a:pt x="680225" y="1042639"/>
                    </a:lnTo>
                    <a:lnTo>
                      <a:pt x="724830" y="1115122"/>
                    </a:lnTo>
                    <a:lnTo>
                      <a:pt x="758283" y="1031488"/>
                    </a:lnTo>
                    <a:lnTo>
                      <a:pt x="735981" y="981307"/>
                    </a:lnTo>
                    <a:lnTo>
                      <a:pt x="791737" y="981307"/>
                    </a:lnTo>
                    <a:lnTo>
                      <a:pt x="814039" y="931127"/>
                    </a:lnTo>
                    <a:lnTo>
                      <a:pt x="769435" y="886522"/>
                    </a:lnTo>
                    <a:lnTo>
                      <a:pt x="836342" y="903249"/>
                    </a:lnTo>
                    <a:lnTo>
                      <a:pt x="853069" y="847493"/>
                    </a:lnTo>
                    <a:lnTo>
                      <a:pt x="886522" y="903249"/>
                    </a:lnTo>
                    <a:lnTo>
                      <a:pt x="992459" y="775010"/>
                    </a:lnTo>
                    <a:lnTo>
                      <a:pt x="992459" y="775010"/>
                    </a:lnTo>
                    <a:lnTo>
                      <a:pt x="992459" y="775010"/>
                    </a:lnTo>
                    <a:lnTo>
                      <a:pt x="1165303" y="741556"/>
                    </a:lnTo>
                    <a:lnTo>
                      <a:pt x="1232210" y="696951"/>
                    </a:lnTo>
                    <a:lnTo>
                      <a:pt x="1170878" y="685800"/>
                    </a:lnTo>
                    <a:lnTo>
                      <a:pt x="1103971" y="696951"/>
                    </a:lnTo>
                    <a:lnTo>
                      <a:pt x="1103971" y="696951"/>
                    </a:lnTo>
                    <a:lnTo>
                      <a:pt x="1148576" y="669073"/>
                    </a:lnTo>
                    <a:lnTo>
                      <a:pt x="1131849" y="635620"/>
                    </a:lnTo>
                    <a:lnTo>
                      <a:pt x="1092820" y="613317"/>
                    </a:lnTo>
                    <a:lnTo>
                      <a:pt x="1176454" y="635620"/>
                    </a:lnTo>
                    <a:lnTo>
                      <a:pt x="1198756" y="669073"/>
                    </a:lnTo>
                    <a:lnTo>
                      <a:pt x="1260088" y="663498"/>
                    </a:lnTo>
                    <a:lnTo>
                      <a:pt x="1209908" y="613317"/>
                    </a:lnTo>
                    <a:lnTo>
                      <a:pt x="1137425" y="563137"/>
                    </a:lnTo>
                    <a:lnTo>
                      <a:pt x="1193181" y="535259"/>
                    </a:lnTo>
                    <a:lnTo>
                      <a:pt x="1248937" y="563137"/>
                    </a:lnTo>
                    <a:lnTo>
                      <a:pt x="1304693" y="551986"/>
                    </a:lnTo>
                    <a:lnTo>
                      <a:pt x="1299117" y="518532"/>
                    </a:lnTo>
                    <a:lnTo>
                      <a:pt x="1237786" y="518532"/>
                    </a:lnTo>
                    <a:lnTo>
                      <a:pt x="1260088" y="479503"/>
                    </a:lnTo>
                    <a:lnTo>
                      <a:pt x="1321420" y="507381"/>
                    </a:lnTo>
                    <a:lnTo>
                      <a:pt x="1338147" y="479503"/>
                    </a:lnTo>
                    <a:lnTo>
                      <a:pt x="1271239" y="451625"/>
                    </a:lnTo>
                    <a:lnTo>
                      <a:pt x="1304693" y="418171"/>
                    </a:lnTo>
                    <a:lnTo>
                      <a:pt x="1248937" y="384717"/>
                    </a:lnTo>
                    <a:lnTo>
                      <a:pt x="1310269" y="373566"/>
                    </a:lnTo>
                    <a:lnTo>
                      <a:pt x="1310269" y="373566"/>
                    </a:lnTo>
                    <a:lnTo>
                      <a:pt x="1338147" y="356839"/>
                    </a:lnTo>
                    <a:lnTo>
                      <a:pt x="1293542" y="323386"/>
                    </a:lnTo>
                    <a:lnTo>
                      <a:pt x="1293542" y="323386"/>
                    </a:lnTo>
                    <a:lnTo>
                      <a:pt x="1299117" y="267629"/>
                    </a:lnTo>
                    <a:lnTo>
                      <a:pt x="1354874" y="217449"/>
                    </a:lnTo>
                    <a:lnTo>
                      <a:pt x="1299117" y="195146"/>
                    </a:lnTo>
                    <a:lnTo>
                      <a:pt x="1388327" y="183995"/>
                    </a:lnTo>
                    <a:lnTo>
                      <a:pt x="1494264" y="128239"/>
                    </a:lnTo>
                    <a:lnTo>
                      <a:pt x="1382752" y="94786"/>
                    </a:lnTo>
                    <a:lnTo>
                      <a:pt x="1326996" y="133815"/>
                    </a:lnTo>
                    <a:lnTo>
                      <a:pt x="1276815" y="128239"/>
                    </a:lnTo>
                    <a:lnTo>
                      <a:pt x="1193181" y="183995"/>
                    </a:lnTo>
                    <a:lnTo>
                      <a:pt x="1248937" y="117088"/>
                    </a:lnTo>
                    <a:lnTo>
                      <a:pt x="1198756" y="100361"/>
                    </a:lnTo>
                    <a:lnTo>
                      <a:pt x="1098396" y="150542"/>
                    </a:lnTo>
                    <a:lnTo>
                      <a:pt x="1126274" y="105937"/>
                    </a:lnTo>
                    <a:lnTo>
                      <a:pt x="925552" y="122664"/>
                    </a:lnTo>
                    <a:lnTo>
                      <a:pt x="1053791" y="89210"/>
                    </a:lnTo>
                    <a:lnTo>
                      <a:pt x="1248937" y="83634"/>
                    </a:lnTo>
                    <a:lnTo>
                      <a:pt x="1148576" y="44605"/>
                    </a:lnTo>
                    <a:lnTo>
                      <a:pt x="931127" y="44605"/>
                    </a:lnTo>
                    <a:lnTo>
                      <a:pt x="1076093" y="11151"/>
                    </a:lnTo>
                    <a:lnTo>
                      <a:pt x="841917" y="0"/>
                    </a:lnTo>
                    <a:lnTo>
                      <a:pt x="825191" y="55756"/>
                    </a:lnTo>
                    <a:lnTo>
                      <a:pt x="791737" y="89210"/>
                    </a:lnTo>
                    <a:lnTo>
                      <a:pt x="719254" y="16727"/>
                    </a:lnTo>
                    <a:lnTo>
                      <a:pt x="657922" y="27878"/>
                    </a:lnTo>
                    <a:lnTo>
                      <a:pt x="708103" y="100361"/>
                    </a:lnTo>
                    <a:lnTo>
                      <a:pt x="708103" y="100361"/>
                    </a:lnTo>
                    <a:lnTo>
                      <a:pt x="540835" y="55756"/>
                    </a:lnTo>
                    <a:lnTo>
                      <a:pt x="579864" y="122664"/>
                    </a:lnTo>
                    <a:lnTo>
                      <a:pt x="518532" y="94786"/>
                    </a:lnTo>
                    <a:lnTo>
                      <a:pt x="518532" y="94786"/>
                    </a:lnTo>
                    <a:lnTo>
                      <a:pt x="479503" y="139390"/>
                    </a:lnTo>
                    <a:lnTo>
                      <a:pt x="457200" y="83634"/>
                    </a:lnTo>
                    <a:lnTo>
                      <a:pt x="412596" y="83634"/>
                    </a:lnTo>
                    <a:lnTo>
                      <a:pt x="351264" y="78059"/>
                    </a:lnTo>
                    <a:lnTo>
                      <a:pt x="407020" y="150542"/>
                    </a:lnTo>
                    <a:lnTo>
                      <a:pt x="345688" y="105937"/>
                    </a:lnTo>
                    <a:lnTo>
                      <a:pt x="306659" y="111512"/>
                    </a:lnTo>
                    <a:lnTo>
                      <a:pt x="312235" y="167268"/>
                    </a:lnTo>
                    <a:lnTo>
                      <a:pt x="267630" y="133815"/>
                    </a:lnTo>
                    <a:lnTo>
                      <a:pt x="178420" y="156117"/>
                    </a:lnTo>
                    <a:lnTo>
                      <a:pt x="234176" y="183995"/>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3" name="Friform 28"/>
              <p:cNvSpPr/>
              <p:nvPr/>
            </p:nvSpPr>
            <p:spPr bwMode="auto">
              <a:xfrm>
                <a:off x="1757843" y="1444354"/>
                <a:ext cx="204755" cy="122064"/>
              </a:xfrm>
              <a:custGeom>
                <a:avLst/>
                <a:gdLst>
                  <a:gd name="connsiteX0" fmla="*/ 35170 w 261258"/>
                  <a:gd name="connsiteY0" fmla="*/ 10048 h 155749"/>
                  <a:gd name="connsiteX1" fmla="*/ 45218 w 261258"/>
                  <a:gd name="connsiteY1" fmla="*/ 55266 h 155749"/>
                  <a:gd name="connsiteX2" fmla="*/ 0 w 261258"/>
                  <a:gd name="connsiteY2" fmla="*/ 110532 h 155749"/>
                  <a:gd name="connsiteX3" fmla="*/ 65315 w 261258"/>
                  <a:gd name="connsiteY3" fmla="*/ 155749 h 155749"/>
                  <a:gd name="connsiteX4" fmla="*/ 130629 w 261258"/>
                  <a:gd name="connsiteY4" fmla="*/ 150725 h 155749"/>
                  <a:gd name="connsiteX5" fmla="*/ 155750 w 261258"/>
                  <a:gd name="connsiteY5" fmla="*/ 105508 h 155749"/>
                  <a:gd name="connsiteX6" fmla="*/ 261258 w 261258"/>
                  <a:gd name="connsiteY6" fmla="*/ 45218 h 155749"/>
                  <a:gd name="connsiteX7" fmla="*/ 200967 w 261258"/>
                  <a:gd name="connsiteY7" fmla="*/ 15072 h 155749"/>
                  <a:gd name="connsiteX8" fmla="*/ 155750 w 261258"/>
                  <a:gd name="connsiteY8" fmla="*/ 35169 h 155749"/>
                  <a:gd name="connsiteX9" fmla="*/ 115556 w 261258"/>
                  <a:gd name="connsiteY9" fmla="*/ 0 h 155749"/>
                  <a:gd name="connsiteX10" fmla="*/ 35170 w 261258"/>
                  <a:gd name="connsiteY10" fmla="*/ 10048 h 15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258" h="155749">
                    <a:moveTo>
                      <a:pt x="35170" y="10048"/>
                    </a:moveTo>
                    <a:lnTo>
                      <a:pt x="45218" y="55266"/>
                    </a:lnTo>
                    <a:lnTo>
                      <a:pt x="0" y="110532"/>
                    </a:lnTo>
                    <a:lnTo>
                      <a:pt x="65315" y="155749"/>
                    </a:lnTo>
                    <a:lnTo>
                      <a:pt x="130629" y="150725"/>
                    </a:lnTo>
                    <a:lnTo>
                      <a:pt x="155750" y="105508"/>
                    </a:lnTo>
                    <a:lnTo>
                      <a:pt x="261258" y="45218"/>
                    </a:lnTo>
                    <a:lnTo>
                      <a:pt x="200967" y="15072"/>
                    </a:lnTo>
                    <a:lnTo>
                      <a:pt x="155750" y="35169"/>
                    </a:lnTo>
                    <a:lnTo>
                      <a:pt x="115556" y="0"/>
                    </a:lnTo>
                    <a:lnTo>
                      <a:pt x="35170" y="10048"/>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4" name="Friform 29"/>
              <p:cNvSpPr/>
              <p:nvPr/>
            </p:nvSpPr>
            <p:spPr bwMode="auto">
              <a:xfrm>
                <a:off x="1897938" y="1482113"/>
                <a:ext cx="328145" cy="165959"/>
              </a:xfrm>
              <a:custGeom>
                <a:avLst/>
                <a:gdLst>
                  <a:gd name="connsiteX0" fmla="*/ 245445 w 418699"/>
                  <a:gd name="connsiteY0" fmla="*/ 0 h 211756"/>
                  <a:gd name="connsiteX1" fmla="*/ 240632 w 418699"/>
                  <a:gd name="connsiteY1" fmla="*/ 52939 h 211756"/>
                  <a:gd name="connsiteX2" fmla="*/ 279133 w 418699"/>
                  <a:gd name="connsiteY2" fmla="*/ 101065 h 211756"/>
                  <a:gd name="connsiteX3" fmla="*/ 221381 w 418699"/>
                  <a:gd name="connsiteY3" fmla="*/ 86628 h 211756"/>
                  <a:gd name="connsiteX4" fmla="*/ 202131 w 418699"/>
                  <a:gd name="connsiteY4" fmla="*/ 43314 h 211756"/>
                  <a:gd name="connsiteX5" fmla="*/ 139567 w 418699"/>
                  <a:gd name="connsiteY5" fmla="*/ 43314 h 211756"/>
                  <a:gd name="connsiteX6" fmla="*/ 139567 w 418699"/>
                  <a:gd name="connsiteY6" fmla="*/ 43314 h 211756"/>
                  <a:gd name="connsiteX7" fmla="*/ 9626 w 418699"/>
                  <a:gd name="connsiteY7" fmla="*/ 62564 h 211756"/>
                  <a:gd name="connsiteX8" fmla="*/ 0 w 418699"/>
                  <a:gd name="connsiteY8" fmla="*/ 120316 h 211756"/>
                  <a:gd name="connsiteX9" fmla="*/ 101066 w 418699"/>
                  <a:gd name="connsiteY9" fmla="*/ 125129 h 211756"/>
                  <a:gd name="connsiteX10" fmla="*/ 173255 w 418699"/>
                  <a:gd name="connsiteY10" fmla="*/ 163630 h 211756"/>
                  <a:gd name="connsiteX11" fmla="*/ 52939 w 418699"/>
                  <a:gd name="connsiteY11" fmla="*/ 154004 h 211756"/>
                  <a:gd name="connsiteX12" fmla="*/ 101066 w 418699"/>
                  <a:gd name="connsiteY12" fmla="*/ 192505 h 211756"/>
                  <a:gd name="connsiteX13" fmla="*/ 182880 w 418699"/>
                  <a:gd name="connsiteY13" fmla="*/ 211756 h 211756"/>
                  <a:gd name="connsiteX14" fmla="*/ 283946 w 418699"/>
                  <a:gd name="connsiteY14" fmla="*/ 197318 h 211756"/>
                  <a:gd name="connsiteX15" fmla="*/ 360948 w 418699"/>
                  <a:gd name="connsiteY15" fmla="*/ 211756 h 211756"/>
                  <a:gd name="connsiteX16" fmla="*/ 418699 w 418699"/>
                  <a:gd name="connsiteY16" fmla="*/ 182880 h 211756"/>
                  <a:gd name="connsiteX17" fmla="*/ 351322 w 418699"/>
                  <a:gd name="connsiteY17" fmla="*/ 134754 h 211756"/>
                  <a:gd name="connsiteX18" fmla="*/ 317634 w 418699"/>
                  <a:gd name="connsiteY18" fmla="*/ 67377 h 211756"/>
                  <a:gd name="connsiteX19" fmla="*/ 293571 w 418699"/>
                  <a:gd name="connsiteY19" fmla="*/ 28876 h 211756"/>
                  <a:gd name="connsiteX20" fmla="*/ 245445 w 418699"/>
                  <a:gd name="connsiteY20" fmla="*/ 0 h 21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699" h="211756">
                    <a:moveTo>
                      <a:pt x="245445" y="0"/>
                    </a:moveTo>
                    <a:lnTo>
                      <a:pt x="240632" y="52939"/>
                    </a:lnTo>
                    <a:lnTo>
                      <a:pt x="279133" y="101065"/>
                    </a:lnTo>
                    <a:lnTo>
                      <a:pt x="221381" y="86628"/>
                    </a:lnTo>
                    <a:lnTo>
                      <a:pt x="202131" y="43314"/>
                    </a:lnTo>
                    <a:lnTo>
                      <a:pt x="139567" y="43314"/>
                    </a:lnTo>
                    <a:lnTo>
                      <a:pt x="139567" y="43314"/>
                    </a:lnTo>
                    <a:lnTo>
                      <a:pt x="9626" y="62564"/>
                    </a:lnTo>
                    <a:lnTo>
                      <a:pt x="0" y="120316"/>
                    </a:lnTo>
                    <a:lnTo>
                      <a:pt x="101066" y="125129"/>
                    </a:lnTo>
                    <a:lnTo>
                      <a:pt x="173255" y="163630"/>
                    </a:lnTo>
                    <a:lnTo>
                      <a:pt x="52939" y="154004"/>
                    </a:lnTo>
                    <a:lnTo>
                      <a:pt x="101066" y="192505"/>
                    </a:lnTo>
                    <a:lnTo>
                      <a:pt x="182880" y="211756"/>
                    </a:lnTo>
                    <a:lnTo>
                      <a:pt x="283946" y="197318"/>
                    </a:lnTo>
                    <a:lnTo>
                      <a:pt x="360948" y="211756"/>
                    </a:lnTo>
                    <a:lnTo>
                      <a:pt x="418699" y="182880"/>
                    </a:lnTo>
                    <a:lnTo>
                      <a:pt x="351322" y="134754"/>
                    </a:lnTo>
                    <a:lnTo>
                      <a:pt x="317634" y="67377"/>
                    </a:lnTo>
                    <a:lnTo>
                      <a:pt x="293571" y="28876"/>
                    </a:lnTo>
                    <a:lnTo>
                      <a:pt x="245445"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5" name="Friform 30"/>
              <p:cNvSpPr/>
              <p:nvPr/>
            </p:nvSpPr>
            <p:spPr bwMode="auto">
              <a:xfrm>
                <a:off x="2429759" y="1467026"/>
                <a:ext cx="535593" cy="422439"/>
              </a:xfrm>
              <a:custGeom>
                <a:avLst/>
                <a:gdLst>
                  <a:gd name="connsiteX0" fmla="*/ 134754 w 683394"/>
                  <a:gd name="connsiteY0" fmla="*/ 24063 h 539014"/>
                  <a:gd name="connsiteX1" fmla="*/ 120316 w 683394"/>
                  <a:gd name="connsiteY1" fmla="*/ 0 h 539014"/>
                  <a:gd name="connsiteX2" fmla="*/ 38501 w 683394"/>
                  <a:gd name="connsiteY2" fmla="*/ 19250 h 539014"/>
                  <a:gd name="connsiteX3" fmla="*/ 0 w 683394"/>
                  <a:gd name="connsiteY3" fmla="*/ 72189 h 539014"/>
                  <a:gd name="connsiteX4" fmla="*/ 14438 w 683394"/>
                  <a:gd name="connsiteY4" fmla="*/ 115503 h 539014"/>
                  <a:gd name="connsiteX5" fmla="*/ 96253 w 683394"/>
                  <a:gd name="connsiteY5" fmla="*/ 154004 h 539014"/>
                  <a:gd name="connsiteX6" fmla="*/ 9626 w 683394"/>
                  <a:gd name="connsiteY6" fmla="*/ 144379 h 539014"/>
                  <a:gd name="connsiteX7" fmla="*/ 72190 w 683394"/>
                  <a:gd name="connsiteY7" fmla="*/ 182880 h 539014"/>
                  <a:gd name="connsiteX8" fmla="*/ 182880 w 683394"/>
                  <a:gd name="connsiteY8" fmla="*/ 173254 h 539014"/>
                  <a:gd name="connsiteX9" fmla="*/ 303196 w 683394"/>
                  <a:gd name="connsiteY9" fmla="*/ 211755 h 539014"/>
                  <a:gd name="connsiteX10" fmla="*/ 264695 w 683394"/>
                  <a:gd name="connsiteY10" fmla="*/ 149191 h 539014"/>
                  <a:gd name="connsiteX11" fmla="*/ 351322 w 683394"/>
                  <a:gd name="connsiteY11" fmla="*/ 206943 h 539014"/>
                  <a:gd name="connsiteX12" fmla="*/ 437950 w 683394"/>
                  <a:gd name="connsiteY12" fmla="*/ 259882 h 539014"/>
                  <a:gd name="connsiteX13" fmla="*/ 437950 w 683394"/>
                  <a:gd name="connsiteY13" fmla="*/ 303195 h 539014"/>
                  <a:gd name="connsiteX14" fmla="*/ 380198 w 683394"/>
                  <a:gd name="connsiteY14" fmla="*/ 356134 h 539014"/>
                  <a:gd name="connsiteX15" fmla="*/ 413887 w 683394"/>
                  <a:gd name="connsiteY15" fmla="*/ 394635 h 539014"/>
                  <a:gd name="connsiteX16" fmla="*/ 356135 w 683394"/>
                  <a:gd name="connsiteY16" fmla="*/ 389823 h 539014"/>
                  <a:gd name="connsiteX17" fmla="*/ 317634 w 683394"/>
                  <a:gd name="connsiteY17" fmla="*/ 365760 h 539014"/>
                  <a:gd name="connsiteX18" fmla="*/ 259882 w 683394"/>
                  <a:gd name="connsiteY18" fmla="*/ 385010 h 539014"/>
                  <a:gd name="connsiteX19" fmla="*/ 327259 w 683394"/>
                  <a:gd name="connsiteY19" fmla="*/ 423511 h 539014"/>
                  <a:gd name="connsiteX20" fmla="*/ 418699 w 683394"/>
                  <a:gd name="connsiteY20" fmla="*/ 428324 h 539014"/>
                  <a:gd name="connsiteX21" fmla="*/ 466826 w 683394"/>
                  <a:gd name="connsiteY21" fmla="*/ 476450 h 539014"/>
                  <a:gd name="connsiteX22" fmla="*/ 606392 w 683394"/>
                  <a:gd name="connsiteY22" fmla="*/ 539014 h 539014"/>
                  <a:gd name="connsiteX23" fmla="*/ 587141 w 683394"/>
                  <a:gd name="connsiteY23" fmla="*/ 505326 h 539014"/>
                  <a:gd name="connsiteX24" fmla="*/ 505327 w 683394"/>
                  <a:gd name="connsiteY24" fmla="*/ 433136 h 539014"/>
                  <a:gd name="connsiteX25" fmla="*/ 635268 w 683394"/>
                  <a:gd name="connsiteY25" fmla="*/ 490888 h 539014"/>
                  <a:gd name="connsiteX26" fmla="*/ 625642 w 683394"/>
                  <a:gd name="connsiteY26" fmla="*/ 428324 h 539014"/>
                  <a:gd name="connsiteX27" fmla="*/ 543828 w 683394"/>
                  <a:gd name="connsiteY27" fmla="*/ 356134 h 539014"/>
                  <a:gd name="connsiteX28" fmla="*/ 471638 w 683394"/>
                  <a:gd name="connsiteY28" fmla="*/ 346509 h 539014"/>
                  <a:gd name="connsiteX29" fmla="*/ 476451 w 683394"/>
                  <a:gd name="connsiteY29" fmla="*/ 303195 h 539014"/>
                  <a:gd name="connsiteX30" fmla="*/ 529390 w 683394"/>
                  <a:gd name="connsiteY30" fmla="*/ 322446 h 539014"/>
                  <a:gd name="connsiteX31" fmla="*/ 529390 w 683394"/>
                  <a:gd name="connsiteY31" fmla="*/ 322446 h 539014"/>
                  <a:gd name="connsiteX32" fmla="*/ 625642 w 683394"/>
                  <a:gd name="connsiteY32" fmla="*/ 365760 h 539014"/>
                  <a:gd name="connsiteX33" fmla="*/ 644893 w 683394"/>
                  <a:gd name="connsiteY33" fmla="*/ 399448 h 539014"/>
                  <a:gd name="connsiteX34" fmla="*/ 683394 w 683394"/>
                  <a:gd name="connsiteY34" fmla="*/ 332071 h 539014"/>
                  <a:gd name="connsiteX35" fmla="*/ 625642 w 683394"/>
                  <a:gd name="connsiteY35" fmla="*/ 293570 h 539014"/>
                  <a:gd name="connsiteX36" fmla="*/ 519765 w 683394"/>
                  <a:gd name="connsiteY36" fmla="*/ 231006 h 539014"/>
                  <a:gd name="connsiteX37" fmla="*/ 572704 w 683394"/>
                  <a:gd name="connsiteY37" fmla="*/ 211755 h 539014"/>
                  <a:gd name="connsiteX38" fmla="*/ 495701 w 683394"/>
                  <a:gd name="connsiteY38" fmla="*/ 144379 h 539014"/>
                  <a:gd name="connsiteX39" fmla="*/ 423512 w 683394"/>
                  <a:gd name="connsiteY39" fmla="*/ 125128 h 539014"/>
                  <a:gd name="connsiteX40" fmla="*/ 365760 w 683394"/>
                  <a:gd name="connsiteY40" fmla="*/ 91440 h 539014"/>
                  <a:gd name="connsiteX41" fmla="*/ 298384 w 683394"/>
                  <a:gd name="connsiteY41" fmla="*/ 67376 h 539014"/>
                  <a:gd name="connsiteX42" fmla="*/ 298384 w 683394"/>
                  <a:gd name="connsiteY42" fmla="*/ 67376 h 539014"/>
                  <a:gd name="connsiteX43" fmla="*/ 235819 w 683394"/>
                  <a:gd name="connsiteY43" fmla="*/ 86627 h 539014"/>
                  <a:gd name="connsiteX44" fmla="*/ 240632 w 683394"/>
                  <a:gd name="connsiteY44" fmla="*/ 43313 h 539014"/>
                  <a:gd name="connsiteX45" fmla="*/ 202131 w 683394"/>
                  <a:gd name="connsiteY45" fmla="*/ 9625 h 539014"/>
                  <a:gd name="connsiteX46" fmla="*/ 134754 w 683394"/>
                  <a:gd name="connsiteY46" fmla="*/ 24063 h 539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83394" h="539014">
                    <a:moveTo>
                      <a:pt x="134754" y="24063"/>
                    </a:moveTo>
                    <a:lnTo>
                      <a:pt x="120316" y="0"/>
                    </a:lnTo>
                    <a:lnTo>
                      <a:pt x="38501" y="19250"/>
                    </a:lnTo>
                    <a:lnTo>
                      <a:pt x="0" y="72189"/>
                    </a:lnTo>
                    <a:lnTo>
                      <a:pt x="14438" y="115503"/>
                    </a:lnTo>
                    <a:lnTo>
                      <a:pt x="96253" y="154004"/>
                    </a:lnTo>
                    <a:lnTo>
                      <a:pt x="9626" y="144379"/>
                    </a:lnTo>
                    <a:lnTo>
                      <a:pt x="72190" y="182880"/>
                    </a:lnTo>
                    <a:lnTo>
                      <a:pt x="182880" y="173254"/>
                    </a:lnTo>
                    <a:lnTo>
                      <a:pt x="303196" y="211755"/>
                    </a:lnTo>
                    <a:lnTo>
                      <a:pt x="264695" y="149191"/>
                    </a:lnTo>
                    <a:lnTo>
                      <a:pt x="351322" y="206943"/>
                    </a:lnTo>
                    <a:lnTo>
                      <a:pt x="437950" y="259882"/>
                    </a:lnTo>
                    <a:lnTo>
                      <a:pt x="437950" y="303195"/>
                    </a:lnTo>
                    <a:lnTo>
                      <a:pt x="380198" y="356134"/>
                    </a:lnTo>
                    <a:lnTo>
                      <a:pt x="413887" y="394635"/>
                    </a:lnTo>
                    <a:lnTo>
                      <a:pt x="356135" y="389823"/>
                    </a:lnTo>
                    <a:lnTo>
                      <a:pt x="317634" y="365760"/>
                    </a:lnTo>
                    <a:lnTo>
                      <a:pt x="259882" y="385010"/>
                    </a:lnTo>
                    <a:lnTo>
                      <a:pt x="327259" y="423511"/>
                    </a:lnTo>
                    <a:lnTo>
                      <a:pt x="418699" y="428324"/>
                    </a:lnTo>
                    <a:lnTo>
                      <a:pt x="466826" y="476450"/>
                    </a:lnTo>
                    <a:lnTo>
                      <a:pt x="606392" y="539014"/>
                    </a:lnTo>
                    <a:lnTo>
                      <a:pt x="587141" y="505326"/>
                    </a:lnTo>
                    <a:lnTo>
                      <a:pt x="505327" y="433136"/>
                    </a:lnTo>
                    <a:lnTo>
                      <a:pt x="635268" y="490888"/>
                    </a:lnTo>
                    <a:lnTo>
                      <a:pt x="625642" y="428324"/>
                    </a:lnTo>
                    <a:lnTo>
                      <a:pt x="543828" y="356134"/>
                    </a:lnTo>
                    <a:lnTo>
                      <a:pt x="471638" y="346509"/>
                    </a:lnTo>
                    <a:lnTo>
                      <a:pt x="476451" y="303195"/>
                    </a:lnTo>
                    <a:lnTo>
                      <a:pt x="529390" y="322446"/>
                    </a:lnTo>
                    <a:lnTo>
                      <a:pt x="529390" y="322446"/>
                    </a:lnTo>
                    <a:lnTo>
                      <a:pt x="625642" y="365760"/>
                    </a:lnTo>
                    <a:lnTo>
                      <a:pt x="644893" y="399448"/>
                    </a:lnTo>
                    <a:lnTo>
                      <a:pt x="683394" y="332071"/>
                    </a:lnTo>
                    <a:lnTo>
                      <a:pt x="625642" y="293570"/>
                    </a:lnTo>
                    <a:lnTo>
                      <a:pt x="519765" y="231006"/>
                    </a:lnTo>
                    <a:lnTo>
                      <a:pt x="572704" y="211755"/>
                    </a:lnTo>
                    <a:lnTo>
                      <a:pt x="495701" y="144379"/>
                    </a:lnTo>
                    <a:lnTo>
                      <a:pt x="423512" y="125128"/>
                    </a:lnTo>
                    <a:lnTo>
                      <a:pt x="365760" y="91440"/>
                    </a:lnTo>
                    <a:lnTo>
                      <a:pt x="298384" y="67376"/>
                    </a:lnTo>
                    <a:lnTo>
                      <a:pt x="298384" y="67376"/>
                    </a:lnTo>
                    <a:lnTo>
                      <a:pt x="235819" y="86627"/>
                    </a:lnTo>
                    <a:lnTo>
                      <a:pt x="240632" y="43313"/>
                    </a:lnTo>
                    <a:lnTo>
                      <a:pt x="202131" y="9625"/>
                    </a:lnTo>
                    <a:lnTo>
                      <a:pt x="134754" y="24063"/>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6" name="Friform 31"/>
              <p:cNvSpPr/>
              <p:nvPr/>
            </p:nvSpPr>
            <p:spPr bwMode="auto">
              <a:xfrm>
                <a:off x="2418444" y="1086076"/>
                <a:ext cx="569540" cy="309286"/>
              </a:xfrm>
              <a:custGeom>
                <a:avLst/>
                <a:gdLst>
                  <a:gd name="connsiteX0" fmla="*/ 0 w 726708"/>
                  <a:gd name="connsiteY0" fmla="*/ 86627 h 394636"/>
                  <a:gd name="connsiteX1" fmla="*/ 86628 w 726708"/>
                  <a:gd name="connsiteY1" fmla="*/ 154004 h 394636"/>
                  <a:gd name="connsiteX2" fmla="*/ 182880 w 726708"/>
                  <a:gd name="connsiteY2" fmla="*/ 149191 h 394636"/>
                  <a:gd name="connsiteX3" fmla="*/ 341697 w 726708"/>
                  <a:gd name="connsiteY3" fmla="*/ 134754 h 394636"/>
                  <a:gd name="connsiteX4" fmla="*/ 250257 w 726708"/>
                  <a:gd name="connsiteY4" fmla="*/ 178067 h 394636"/>
                  <a:gd name="connsiteX5" fmla="*/ 197318 w 726708"/>
                  <a:gd name="connsiteY5" fmla="*/ 173255 h 394636"/>
                  <a:gd name="connsiteX6" fmla="*/ 129942 w 726708"/>
                  <a:gd name="connsiteY6" fmla="*/ 178067 h 394636"/>
                  <a:gd name="connsiteX7" fmla="*/ 129942 w 726708"/>
                  <a:gd name="connsiteY7" fmla="*/ 178067 h 394636"/>
                  <a:gd name="connsiteX8" fmla="*/ 192506 w 726708"/>
                  <a:gd name="connsiteY8" fmla="*/ 231006 h 394636"/>
                  <a:gd name="connsiteX9" fmla="*/ 235819 w 726708"/>
                  <a:gd name="connsiteY9" fmla="*/ 245444 h 394636"/>
                  <a:gd name="connsiteX10" fmla="*/ 154005 w 726708"/>
                  <a:gd name="connsiteY10" fmla="*/ 250257 h 394636"/>
                  <a:gd name="connsiteX11" fmla="*/ 96253 w 726708"/>
                  <a:gd name="connsiteY11" fmla="*/ 269507 h 394636"/>
                  <a:gd name="connsiteX12" fmla="*/ 154005 w 726708"/>
                  <a:gd name="connsiteY12" fmla="*/ 308008 h 394636"/>
                  <a:gd name="connsiteX13" fmla="*/ 216569 w 726708"/>
                  <a:gd name="connsiteY13" fmla="*/ 288758 h 394636"/>
                  <a:gd name="connsiteX14" fmla="*/ 163630 w 726708"/>
                  <a:gd name="connsiteY14" fmla="*/ 327259 h 394636"/>
                  <a:gd name="connsiteX15" fmla="*/ 101066 w 726708"/>
                  <a:gd name="connsiteY15" fmla="*/ 303196 h 394636"/>
                  <a:gd name="connsiteX16" fmla="*/ 67377 w 726708"/>
                  <a:gd name="connsiteY16" fmla="*/ 303196 h 394636"/>
                  <a:gd name="connsiteX17" fmla="*/ 105878 w 726708"/>
                  <a:gd name="connsiteY17" fmla="*/ 341697 h 394636"/>
                  <a:gd name="connsiteX18" fmla="*/ 33689 w 726708"/>
                  <a:gd name="connsiteY18" fmla="*/ 346509 h 394636"/>
                  <a:gd name="connsiteX19" fmla="*/ 91440 w 726708"/>
                  <a:gd name="connsiteY19" fmla="*/ 375385 h 394636"/>
                  <a:gd name="connsiteX20" fmla="*/ 202131 w 726708"/>
                  <a:gd name="connsiteY20" fmla="*/ 370572 h 394636"/>
                  <a:gd name="connsiteX21" fmla="*/ 274320 w 726708"/>
                  <a:gd name="connsiteY21" fmla="*/ 394636 h 394636"/>
                  <a:gd name="connsiteX22" fmla="*/ 322447 w 726708"/>
                  <a:gd name="connsiteY22" fmla="*/ 351322 h 394636"/>
                  <a:gd name="connsiteX23" fmla="*/ 221382 w 726708"/>
                  <a:gd name="connsiteY23" fmla="*/ 332071 h 394636"/>
                  <a:gd name="connsiteX24" fmla="*/ 312822 w 726708"/>
                  <a:gd name="connsiteY24" fmla="*/ 312821 h 394636"/>
                  <a:gd name="connsiteX25" fmla="*/ 288758 w 726708"/>
                  <a:gd name="connsiteY25" fmla="*/ 274320 h 394636"/>
                  <a:gd name="connsiteX26" fmla="*/ 360948 w 726708"/>
                  <a:gd name="connsiteY26" fmla="*/ 293570 h 394636"/>
                  <a:gd name="connsiteX27" fmla="*/ 399449 w 726708"/>
                  <a:gd name="connsiteY27" fmla="*/ 240631 h 394636"/>
                  <a:gd name="connsiteX28" fmla="*/ 327259 w 726708"/>
                  <a:gd name="connsiteY28" fmla="*/ 221381 h 394636"/>
                  <a:gd name="connsiteX29" fmla="*/ 413887 w 726708"/>
                  <a:gd name="connsiteY29" fmla="*/ 206943 h 394636"/>
                  <a:gd name="connsiteX30" fmla="*/ 481264 w 726708"/>
                  <a:gd name="connsiteY30" fmla="*/ 197318 h 394636"/>
                  <a:gd name="connsiteX31" fmla="*/ 433137 w 726708"/>
                  <a:gd name="connsiteY31" fmla="*/ 168442 h 394636"/>
                  <a:gd name="connsiteX32" fmla="*/ 490889 w 726708"/>
                  <a:gd name="connsiteY32" fmla="*/ 182880 h 394636"/>
                  <a:gd name="connsiteX33" fmla="*/ 548640 w 726708"/>
                  <a:gd name="connsiteY33" fmla="*/ 139566 h 394636"/>
                  <a:gd name="connsiteX34" fmla="*/ 649706 w 726708"/>
                  <a:gd name="connsiteY34" fmla="*/ 105878 h 394636"/>
                  <a:gd name="connsiteX35" fmla="*/ 558266 w 726708"/>
                  <a:gd name="connsiteY35" fmla="*/ 110690 h 394636"/>
                  <a:gd name="connsiteX36" fmla="*/ 495702 w 726708"/>
                  <a:gd name="connsiteY36" fmla="*/ 115503 h 394636"/>
                  <a:gd name="connsiteX37" fmla="*/ 582329 w 726708"/>
                  <a:gd name="connsiteY37" fmla="*/ 86627 h 394636"/>
                  <a:gd name="connsiteX38" fmla="*/ 673769 w 726708"/>
                  <a:gd name="connsiteY38" fmla="*/ 72189 h 394636"/>
                  <a:gd name="connsiteX39" fmla="*/ 726708 w 726708"/>
                  <a:gd name="connsiteY39" fmla="*/ 43314 h 394636"/>
                  <a:gd name="connsiteX40" fmla="*/ 664144 w 726708"/>
                  <a:gd name="connsiteY40" fmla="*/ 33688 h 394636"/>
                  <a:gd name="connsiteX41" fmla="*/ 558266 w 726708"/>
                  <a:gd name="connsiteY41" fmla="*/ 38501 h 394636"/>
                  <a:gd name="connsiteX42" fmla="*/ 606392 w 726708"/>
                  <a:gd name="connsiteY42" fmla="*/ 9625 h 394636"/>
                  <a:gd name="connsiteX43" fmla="*/ 510139 w 726708"/>
                  <a:gd name="connsiteY43" fmla="*/ 4812 h 394636"/>
                  <a:gd name="connsiteX44" fmla="*/ 433137 w 726708"/>
                  <a:gd name="connsiteY44" fmla="*/ 4812 h 394636"/>
                  <a:gd name="connsiteX45" fmla="*/ 442763 w 726708"/>
                  <a:gd name="connsiteY45" fmla="*/ 38501 h 394636"/>
                  <a:gd name="connsiteX46" fmla="*/ 380198 w 726708"/>
                  <a:gd name="connsiteY46" fmla="*/ 0 h 394636"/>
                  <a:gd name="connsiteX47" fmla="*/ 298384 w 726708"/>
                  <a:gd name="connsiteY47" fmla="*/ 9625 h 394636"/>
                  <a:gd name="connsiteX48" fmla="*/ 380198 w 726708"/>
                  <a:gd name="connsiteY48" fmla="*/ 57751 h 394636"/>
                  <a:gd name="connsiteX49" fmla="*/ 269508 w 726708"/>
                  <a:gd name="connsiteY49" fmla="*/ 9625 h 394636"/>
                  <a:gd name="connsiteX50" fmla="*/ 192506 w 726708"/>
                  <a:gd name="connsiteY50" fmla="*/ 38501 h 394636"/>
                  <a:gd name="connsiteX51" fmla="*/ 288758 w 726708"/>
                  <a:gd name="connsiteY51" fmla="*/ 81815 h 394636"/>
                  <a:gd name="connsiteX52" fmla="*/ 197318 w 726708"/>
                  <a:gd name="connsiteY52" fmla="*/ 72189 h 394636"/>
                  <a:gd name="connsiteX53" fmla="*/ 144379 w 726708"/>
                  <a:gd name="connsiteY53" fmla="*/ 33688 h 394636"/>
                  <a:gd name="connsiteX54" fmla="*/ 101066 w 726708"/>
                  <a:gd name="connsiteY54" fmla="*/ 57751 h 394636"/>
                  <a:gd name="connsiteX55" fmla="*/ 144379 w 726708"/>
                  <a:gd name="connsiteY55" fmla="*/ 91440 h 394636"/>
                  <a:gd name="connsiteX56" fmla="*/ 96253 w 726708"/>
                  <a:gd name="connsiteY56" fmla="*/ 67377 h 394636"/>
                  <a:gd name="connsiteX57" fmla="*/ 0 w 726708"/>
                  <a:gd name="connsiteY57" fmla="*/ 86627 h 39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726708" h="394636">
                    <a:moveTo>
                      <a:pt x="0" y="86627"/>
                    </a:moveTo>
                    <a:lnTo>
                      <a:pt x="86628" y="154004"/>
                    </a:lnTo>
                    <a:lnTo>
                      <a:pt x="182880" y="149191"/>
                    </a:lnTo>
                    <a:lnTo>
                      <a:pt x="341697" y="134754"/>
                    </a:lnTo>
                    <a:lnTo>
                      <a:pt x="250257" y="178067"/>
                    </a:lnTo>
                    <a:lnTo>
                      <a:pt x="197318" y="173255"/>
                    </a:lnTo>
                    <a:lnTo>
                      <a:pt x="129942" y="178067"/>
                    </a:lnTo>
                    <a:lnTo>
                      <a:pt x="129942" y="178067"/>
                    </a:lnTo>
                    <a:lnTo>
                      <a:pt x="192506" y="231006"/>
                    </a:lnTo>
                    <a:lnTo>
                      <a:pt x="235819" y="245444"/>
                    </a:lnTo>
                    <a:lnTo>
                      <a:pt x="154005" y="250257"/>
                    </a:lnTo>
                    <a:lnTo>
                      <a:pt x="96253" y="269507"/>
                    </a:lnTo>
                    <a:lnTo>
                      <a:pt x="154005" y="308008"/>
                    </a:lnTo>
                    <a:lnTo>
                      <a:pt x="216569" y="288758"/>
                    </a:lnTo>
                    <a:lnTo>
                      <a:pt x="163630" y="327259"/>
                    </a:lnTo>
                    <a:lnTo>
                      <a:pt x="101066" y="303196"/>
                    </a:lnTo>
                    <a:lnTo>
                      <a:pt x="67377" y="303196"/>
                    </a:lnTo>
                    <a:lnTo>
                      <a:pt x="105878" y="341697"/>
                    </a:lnTo>
                    <a:lnTo>
                      <a:pt x="33689" y="346509"/>
                    </a:lnTo>
                    <a:lnTo>
                      <a:pt x="91440" y="375385"/>
                    </a:lnTo>
                    <a:lnTo>
                      <a:pt x="202131" y="370572"/>
                    </a:lnTo>
                    <a:lnTo>
                      <a:pt x="274320" y="394636"/>
                    </a:lnTo>
                    <a:lnTo>
                      <a:pt x="322447" y="351322"/>
                    </a:lnTo>
                    <a:lnTo>
                      <a:pt x="221382" y="332071"/>
                    </a:lnTo>
                    <a:lnTo>
                      <a:pt x="312822" y="312821"/>
                    </a:lnTo>
                    <a:lnTo>
                      <a:pt x="288758" y="274320"/>
                    </a:lnTo>
                    <a:lnTo>
                      <a:pt x="360948" y="293570"/>
                    </a:lnTo>
                    <a:lnTo>
                      <a:pt x="399449" y="240631"/>
                    </a:lnTo>
                    <a:lnTo>
                      <a:pt x="327259" y="221381"/>
                    </a:lnTo>
                    <a:lnTo>
                      <a:pt x="413887" y="206943"/>
                    </a:lnTo>
                    <a:lnTo>
                      <a:pt x="481264" y="197318"/>
                    </a:lnTo>
                    <a:lnTo>
                      <a:pt x="433137" y="168442"/>
                    </a:lnTo>
                    <a:lnTo>
                      <a:pt x="490889" y="182880"/>
                    </a:lnTo>
                    <a:lnTo>
                      <a:pt x="548640" y="139566"/>
                    </a:lnTo>
                    <a:lnTo>
                      <a:pt x="649706" y="105878"/>
                    </a:lnTo>
                    <a:lnTo>
                      <a:pt x="558266" y="110690"/>
                    </a:lnTo>
                    <a:lnTo>
                      <a:pt x="495702" y="115503"/>
                    </a:lnTo>
                    <a:lnTo>
                      <a:pt x="582329" y="86627"/>
                    </a:lnTo>
                    <a:lnTo>
                      <a:pt x="673769" y="72189"/>
                    </a:lnTo>
                    <a:lnTo>
                      <a:pt x="726708" y="43314"/>
                    </a:lnTo>
                    <a:lnTo>
                      <a:pt x="664144" y="33688"/>
                    </a:lnTo>
                    <a:lnTo>
                      <a:pt x="558266" y="38501"/>
                    </a:lnTo>
                    <a:lnTo>
                      <a:pt x="606392" y="9625"/>
                    </a:lnTo>
                    <a:lnTo>
                      <a:pt x="510139" y="4812"/>
                    </a:lnTo>
                    <a:lnTo>
                      <a:pt x="433137" y="4812"/>
                    </a:lnTo>
                    <a:lnTo>
                      <a:pt x="442763" y="38501"/>
                    </a:lnTo>
                    <a:lnTo>
                      <a:pt x="380198" y="0"/>
                    </a:lnTo>
                    <a:lnTo>
                      <a:pt x="298384" y="9625"/>
                    </a:lnTo>
                    <a:lnTo>
                      <a:pt x="380198" y="57751"/>
                    </a:lnTo>
                    <a:lnTo>
                      <a:pt x="269508" y="9625"/>
                    </a:lnTo>
                    <a:lnTo>
                      <a:pt x="192506" y="38501"/>
                    </a:lnTo>
                    <a:lnTo>
                      <a:pt x="288758" y="81815"/>
                    </a:lnTo>
                    <a:lnTo>
                      <a:pt x="197318" y="72189"/>
                    </a:lnTo>
                    <a:lnTo>
                      <a:pt x="144379" y="33688"/>
                    </a:lnTo>
                    <a:lnTo>
                      <a:pt x="101066" y="57751"/>
                    </a:lnTo>
                    <a:lnTo>
                      <a:pt x="144379" y="91440"/>
                    </a:lnTo>
                    <a:lnTo>
                      <a:pt x="96253" y="67377"/>
                    </a:lnTo>
                    <a:lnTo>
                      <a:pt x="0" y="86627"/>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7" name="Friform 32"/>
              <p:cNvSpPr/>
              <p:nvPr/>
            </p:nvSpPr>
            <p:spPr bwMode="auto">
              <a:xfrm>
                <a:off x="2324150" y="1165283"/>
                <a:ext cx="199904" cy="147100"/>
              </a:xfrm>
              <a:custGeom>
                <a:avLst/>
                <a:gdLst>
                  <a:gd name="connsiteX0" fmla="*/ 48126 w 255069"/>
                  <a:gd name="connsiteY0" fmla="*/ 0 h 187693"/>
                  <a:gd name="connsiteX1" fmla="*/ 48126 w 255069"/>
                  <a:gd name="connsiteY1" fmla="*/ 0 h 187693"/>
                  <a:gd name="connsiteX2" fmla="*/ 0 w 255069"/>
                  <a:gd name="connsiteY2" fmla="*/ 52939 h 187693"/>
                  <a:gd name="connsiteX3" fmla="*/ 19250 w 255069"/>
                  <a:gd name="connsiteY3" fmla="*/ 96253 h 187693"/>
                  <a:gd name="connsiteX4" fmla="*/ 19250 w 255069"/>
                  <a:gd name="connsiteY4" fmla="*/ 96253 h 187693"/>
                  <a:gd name="connsiteX5" fmla="*/ 19250 w 255069"/>
                  <a:gd name="connsiteY5" fmla="*/ 96253 h 187693"/>
                  <a:gd name="connsiteX6" fmla="*/ 129941 w 255069"/>
                  <a:gd name="connsiteY6" fmla="*/ 120316 h 187693"/>
                  <a:gd name="connsiteX7" fmla="*/ 38501 w 255069"/>
                  <a:gd name="connsiteY7" fmla="*/ 144379 h 187693"/>
                  <a:gd name="connsiteX8" fmla="*/ 81814 w 255069"/>
                  <a:gd name="connsiteY8" fmla="*/ 178067 h 187693"/>
                  <a:gd name="connsiteX9" fmla="*/ 144379 w 255069"/>
                  <a:gd name="connsiteY9" fmla="*/ 187693 h 187693"/>
                  <a:gd name="connsiteX10" fmla="*/ 192505 w 255069"/>
                  <a:gd name="connsiteY10" fmla="*/ 149192 h 187693"/>
                  <a:gd name="connsiteX11" fmla="*/ 255069 w 255069"/>
                  <a:gd name="connsiteY11" fmla="*/ 125129 h 187693"/>
                  <a:gd name="connsiteX12" fmla="*/ 202130 w 255069"/>
                  <a:gd name="connsiteY12" fmla="*/ 101065 h 187693"/>
                  <a:gd name="connsiteX13" fmla="*/ 202130 w 255069"/>
                  <a:gd name="connsiteY13" fmla="*/ 101065 h 187693"/>
                  <a:gd name="connsiteX14" fmla="*/ 139566 w 255069"/>
                  <a:gd name="connsiteY14" fmla="*/ 43314 h 187693"/>
                  <a:gd name="connsiteX15" fmla="*/ 139566 w 255069"/>
                  <a:gd name="connsiteY15" fmla="*/ 43314 h 187693"/>
                  <a:gd name="connsiteX16" fmla="*/ 48126 w 255069"/>
                  <a:gd name="connsiteY16" fmla="*/ 0 h 18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5069" h="187693">
                    <a:moveTo>
                      <a:pt x="48126" y="0"/>
                    </a:moveTo>
                    <a:lnTo>
                      <a:pt x="48126" y="0"/>
                    </a:lnTo>
                    <a:lnTo>
                      <a:pt x="0" y="52939"/>
                    </a:lnTo>
                    <a:lnTo>
                      <a:pt x="19250" y="96253"/>
                    </a:lnTo>
                    <a:lnTo>
                      <a:pt x="19250" y="96253"/>
                    </a:lnTo>
                    <a:lnTo>
                      <a:pt x="19250" y="96253"/>
                    </a:lnTo>
                    <a:lnTo>
                      <a:pt x="129941" y="120316"/>
                    </a:lnTo>
                    <a:lnTo>
                      <a:pt x="38501" y="144379"/>
                    </a:lnTo>
                    <a:lnTo>
                      <a:pt x="81814" y="178067"/>
                    </a:lnTo>
                    <a:lnTo>
                      <a:pt x="144379" y="187693"/>
                    </a:lnTo>
                    <a:lnTo>
                      <a:pt x="192505" y="149192"/>
                    </a:lnTo>
                    <a:lnTo>
                      <a:pt x="255069" y="125129"/>
                    </a:lnTo>
                    <a:lnTo>
                      <a:pt x="202130" y="101065"/>
                    </a:lnTo>
                    <a:lnTo>
                      <a:pt x="202130" y="101065"/>
                    </a:lnTo>
                    <a:lnTo>
                      <a:pt x="139566" y="43314"/>
                    </a:lnTo>
                    <a:lnTo>
                      <a:pt x="139566" y="43314"/>
                    </a:lnTo>
                    <a:lnTo>
                      <a:pt x="48126"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8" name="Friform 33"/>
              <p:cNvSpPr/>
              <p:nvPr/>
            </p:nvSpPr>
            <p:spPr bwMode="auto">
              <a:xfrm>
                <a:off x="2286282" y="1347736"/>
                <a:ext cx="342275" cy="114092"/>
              </a:xfrm>
              <a:custGeom>
                <a:avLst/>
                <a:gdLst>
                  <a:gd name="connsiteX0" fmla="*/ 436728 w 436728"/>
                  <a:gd name="connsiteY0" fmla="*/ 95535 h 145576"/>
                  <a:gd name="connsiteX1" fmla="*/ 377588 w 436728"/>
                  <a:gd name="connsiteY1" fmla="*/ 63690 h 145576"/>
                  <a:gd name="connsiteX2" fmla="*/ 291152 w 436728"/>
                  <a:gd name="connsiteY2" fmla="*/ 86436 h 145576"/>
                  <a:gd name="connsiteX3" fmla="*/ 236561 w 436728"/>
                  <a:gd name="connsiteY3" fmla="*/ 81887 h 145576"/>
                  <a:gd name="connsiteX4" fmla="*/ 200167 w 436728"/>
                  <a:gd name="connsiteY4" fmla="*/ 90985 h 145576"/>
                  <a:gd name="connsiteX5" fmla="*/ 159224 w 436728"/>
                  <a:gd name="connsiteY5" fmla="*/ 54591 h 145576"/>
                  <a:gd name="connsiteX6" fmla="*/ 209265 w 436728"/>
                  <a:gd name="connsiteY6" fmla="*/ 59140 h 145576"/>
                  <a:gd name="connsiteX7" fmla="*/ 213815 w 436728"/>
                  <a:gd name="connsiteY7" fmla="*/ 45493 h 145576"/>
                  <a:gd name="connsiteX8" fmla="*/ 150125 w 436728"/>
                  <a:gd name="connsiteY8" fmla="*/ 27296 h 145576"/>
                  <a:gd name="connsiteX9" fmla="*/ 118280 w 436728"/>
                  <a:gd name="connsiteY9" fmla="*/ 31845 h 145576"/>
                  <a:gd name="connsiteX10" fmla="*/ 63689 w 436728"/>
                  <a:gd name="connsiteY10" fmla="*/ 4549 h 145576"/>
                  <a:gd name="connsiteX11" fmla="*/ 0 w 436728"/>
                  <a:gd name="connsiteY11" fmla="*/ 0 h 145576"/>
                  <a:gd name="connsiteX12" fmla="*/ 40943 w 436728"/>
                  <a:gd name="connsiteY12" fmla="*/ 50042 h 145576"/>
                  <a:gd name="connsiteX13" fmla="*/ 118280 w 436728"/>
                  <a:gd name="connsiteY13" fmla="*/ 59140 h 145576"/>
                  <a:gd name="connsiteX14" fmla="*/ 145576 w 436728"/>
                  <a:gd name="connsiteY14" fmla="*/ 86436 h 145576"/>
                  <a:gd name="connsiteX15" fmla="*/ 122830 w 436728"/>
                  <a:gd name="connsiteY15" fmla="*/ 113732 h 145576"/>
                  <a:gd name="connsiteX16" fmla="*/ 181970 w 436728"/>
                  <a:gd name="connsiteY16" fmla="*/ 141027 h 145576"/>
                  <a:gd name="connsiteX17" fmla="*/ 291152 w 436728"/>
                  <a:gd name="connsiteY17" fmla="*/ 136478 h 145576"/>
                  <a:gd name="connsiteX18" fmla="*/ 350292 w 436728"/>
                  <a:gd name="connsiteY18" fmla="*/ 109182 h 145576"/>
                  <a:gd name="connsiteX19" fmla="*/ 382137 w 436728"/>
                  <a:gd name="connsiteY19" fmla="*/ 145576 h 145576"/>
                  <a:gd name="connsiteX20" fmla="*/ 436728 w 436728"/>
                  <a:gd name="connsiteY20" fmla="*/ 95535 h 145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6728" h="145576">
                    <a:moveTo>
                      <a:pt x="436728" y="95535"/>
                    </a:moveTo>
                    <a:lnTo>
                      <a:pt x="377588" y="63690"/>
                    </a:lnTo>
                    <a:lnTo>
                      <a:pt x="291152" y="86436"/>
                    </a:lnTo>
                    <a:lnTo>
                      <a:pt x="236561" y="81887"/>
                    </a:lnTo>
                    <a:lnTo>
                      <a:pt x="200167" y="90985"/>
                    </a:lnTo>
                    <a:lnTo>
                      <a:pt x="159224" y="54591"/>
                    </a:lnTo>
                    <a:lnTo>
                      <a:pt x="209265" y="59140"/>
                    </a:lnTo>
                    <a:lnTo>
                      <a:pt x="213815" y="45493"/>
                    </a:lnTo>
                    <a:lnTo>
                      <a:pt x="150125" y="27296"/>
                    </a:lnTo>
                    <a:lnTo>
                      <a:pt x="118280" y="31845"/>
                    </a:lnTo>
                    <a:lnTo>
                      <a:pt x="63689" y="4549"/>
                    </a:lnTo>
                    <a:lnTo>
                      <a:pt x="0" y="0"/>
                    </a:lnTo>
                    <a:lnTo>
                      <a:pt x="40943" y="50042"/>
                    </a:lnTo>
                    <a:lnTo>
                      <a:pt x="118280" y="59140"/>
                    </a:lnTo>
                    <a:lnTo>
                      <a:pt x="145576" y="86436"/>
                    </a:lnTo>
                    <a:lnTo>
                      <a:pt x="122830" y="113732"/>
                    </a:lnTo>
                    <a:lnTo>
                      <a:pt x="181970" y="141027"/>
                    </a:lnTo>
                    <a:lnTo>
                      <a:pt x="291152" y="136478"/>
                    </a:lnTo>
                    <a:lnTo>
                      <a:pt x="350292" y="109182"/>
                    </a:lnTo>
                    <a:lnTo>
                      <a:pt x="382137" y="145576"/>
                    </a:lnTo>
                    <a:lnTo>
                      <a:pt x="436728" y="95535"/>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9" name="Friform 34"/>
              <p:cNvSpPr/>
              <p:nvPr/>
            </p:nvSpPr>
            <p:spPr bwMode="auto">
              <a:xfrm>
                <a:off x="3027878" y="2149943"/>
                <a:ext cx="110526" cy="110526"/>
              </a:xfrm>
              <a:custGeom>
                <a:avLst/>
                <a:gdLst>
                  <a:gd name="connsiteX0" fmla="*/ 86435 w 141026"/>
                  <a:gd name="connsiteY0" fmla="*/ 0 h 141027"/>
                  <a:gd name="connsiteX1" fmla="*/ 31844 w 141026"/>
                  <a:gd name="connsiteY1" fmla="*/ 22747 h 141027"/>
                  <a:gd name="connsiteX2" fmla="*/ 4549 w 141026"/>
                  <a:gd name="connsiteY2" fmla="*/ 77338 h 141027"/>
                  <a:gd name="connsiteX3" fmla="*/ 0 w 141026"/>
                  <a:gd name="connsiteY3" fmla="*/ 122830 h 141027"/>
                  <a:gd name="connsiteX4" fmla="*/ 81886 w 141026"/>
                  <a:gd name="connsiteY4" fmla="*/ 127379 h 141027"/>
                  <a:gd name="connsiteX5" fmla="*/ 81886 w 141026"/>
                  <a:gd name="connsiteY5" fmla="*/ 127379 h 141027"/>
                  <a:gd name="connsiteX6" fmla="*/ 141026 w 141026"/>
                  <a:gd name="connsiteY6" fmla="*/ 141027 h 141027"/>
                  <a:gd name="connsiteX7" fmla="*/ 141026 w 141026"/>
                  <a:gd name="connsiteY7" fmla="*/ 90985 h 141027"/>
                  <a:gd name="connsiteX8" fmla="*/ 118280 w 141026"/>
                  <a:gd name="connsiteY8" fmla="*/ 59141 h 141027"/>
                  <a:gd name="connsiteX9" fmla="*/ 59140 w 141026"/>
                  <a:gd name="connsiteY9" fmla="*/ 63690 h 141027"/>
                  <a:gd name="connsiteX10" fmla="*/ 86435 w 141026"/>
                  <a:gd name="connsiteY10" fmla="*/ 0 h 14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026" h="141027">
                    <a:moveTo>
                      <a:pt x="86435" y="0"/>
                    </a:moveTo>
                    <a:lnTo>
                      <a:pt x="31844" y="22747"/>
                    </a:lnTo>
                    <a:lnTo>
                      <a:pt x="4549" y="77338"/>
                    </a:lnTo>
                    <a:lnTo>
                      <a:pt x="0" y="122830"/>
                    </a:lnTo>
                    <a:lnTo>
                      <a:pt x="81886" y="127379"/>
                    </a:lnTo>
                    <a:lnTo>
                      <a:pt x="81886" y="127379"/>
                    </a:lnTo>
                    <a:lnTo>
                      <a:pt x="141026" y="141027"/>
                    </a:lnTo>
                    <a:lnTo>
                      <a:pt x="141026" y="90985"/>
                    </a:lnTo>
                    <a:lnTo>
                      <a:pt x="118280" y="59141"/>
                    </a:lnTo>
                    <a:lnTo>
                      <a:pt x="59140" y="63690"/>
                    </a:lnTo>
                    <a:lnTo>
                      <a:pt x="86435"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0" name="Friform 35"/>
              <p:cNvSpPr/>
              <p:nvPr/>
            </p:nvSpPr>
            <p:spPr bwMode="auto">
              <a:xfrm>
                <a:off x="1812088" y="1329909"/>
                <a:ext cx="153311" cy="67742"/>
              </a:xfrm>
              <a:custGeom>
                <a:avLst/>
                <a:gdLst>
                  <a:gd name="connsiteX0" fmla="*/ 0 w 195618"/>
                  <a:gd name="connsiteY0" fmla="*/ 72788 h 86436"/>
                  <a:gd name="connsiteX1" fmla="*/ 59140 w 195618"/>
                  <a:gd name="connsiteY1" fmla="*/ 86436 h 86436"/>
                  <a:gd name="connsiteX2" fmla="*/ 109182 w 195618"/>
                  <a:gd name="connsiteY2" fmla="*/ 77337 h 86436"/>
                  <a:gd name="connsiteX3" fmla="*/ 122830 w 195618"/>
                  <a:gd name="connsiteY3" fmla="*/ 40943 h 86436"/>
                  <a:gd name="connsiteX4" fmla="*/ 122830 w 195618"/>
                  <a:gd name="connsiteY4" fmla="*/ 40943 h 86436"/>
                  <a:gd name="connsiteX5" fmla="*/ 177421 w 195618"/>
                  <a:gd name="connsiteY5" fmla="*/ 36394 h 86436"/>
                  <a:gd name="connsiteX6" fmla="*/ 195618 w 195618"/>
                  <a:gd name="connsiteY6" fmla="*/ 9098 h 86436"/>
                  <a:gd name="connsiteX7" fmla="*/ 118281 w 195618"/>
                  <a:gd name="connsiteY7" fmla="*/ 0 h 86436"/>
                  <a:gd name="connsiteX8" fmla="*/ 77337 w 195618"/>
                  <a:gd name="connsiteY8" fmla="*/ 36394 h 86436"/>
                  <a:gd name="connsiteX9" fmla="*/ 0 w 195618"/>
                  <a:gd name="connsiteY9" fmla="*/ 72788 h 8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5618" h="86436">
                    <a:moveTo>
                      <a:pt x="0" y="72788"/>
                    </a:moveTo>
                    <a:lnTo>
                      <a:pt x="59140" y="86436"/>
                    </a:lnTo>
                    <a:lnTo>
                      <a:pt x="109182" y="77337"/>
                    </a:lnTo>
                    <a:lnTo>
                      <a:pt x="122830" y="40943"/>
                    </a:lnTo>
                    <a:lnTo>
                      <a:pt x="122830" y="40943"/>
                    </a:lnTo>
                    <a:lnTo>
                      <a:pt x="177421" y="36394"/>
                    </a:lnTo>
                    <a:lnTo>
                      <a:pt x="195618" y="9098"/>
                    </a:lnTo>
                    <a:lnTo>
                      <a:pt x="118281" y="0"/>
                    </a:lnTo>
                    <a:lnTo>
                      <a:pt x="77337" y="36394"/>
                    </a:lnTo>
                    <a:lnTo>
                      <a:pt x="0" y="72788"/>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1" name="Friform 36"/>
              <p:cNvSpPr/>
              <p:nvPr/>
            </p:nvSpPr>
            <p:spPr bwMode="auto">
              <a:xfrm>
                <a:off x="1908353" y="1351301"/>
                <a:ext cx="224618" cy="114092"/>
              </a:xfrm>
              <a:custGeom>
                <a:avLst/>
                <a:gdLst>
                  <a:gd name="connsiteX0" fmla="*/ 286603 w 286603"/>
                  <a:gd name="connsiteY0" fmla="*/ 72788 h 145577"/>
                  <a:gd name="connsiteX1" fmla="*/ 263857 w 286603"/>
                  <a:gd name="connsiteY1" fmla="*/ 109183 h 145577"/>
                  <a:gd name="connsiteX2" fmla="*/ 191069 w 286603"/>
                  <a:gd name="connsiteY2" fmla="*/ 113732 h 145577"/>
                  <a:gd name="connsiteX3" fmla="*/ 122830 w 286603"/>
                  <a:gd name="connsiteY3" fmla="*/ 145577 h 145577"/>
                  <a:gd name="connsiteX4" fmla="*/ 86436 w 286603"/>
                  <a:gd name="connsiteY4" fmla="*/ 122830 h 145577"/>
                  <a:gd name="connsiteX5" fmla="*/ 172872 w 286603"/>
                  <a:gd name="connsiteY5" fmla="*/ 95535 h 145577"/>
                  <a:gd name="connsiteX6" fmla="*/ 104633 w 286603"/>
                  <a:gd name="connsiteY6" fmla="*/ 95535 h 145577"/>
                  <a:gd name="connsiteX7" fmla="*/ 40943 w 286603"/>
                  <a:gd name="connsiteY7" fmla="*/ 104633 h 145577"/>
                  <a:gd name="connsiteX8" fmla="*/ 0 w 286603"/>
                  <a:gd name="connsiteY8" fmla="*/ 81887 h 145577"/>
                  <a:gd name="connsiteX9" fmla="*/ 54591 w 286603"/>
                  <a:gd name="connsiteY9" fmla="*/ 31845 h 145577"/>
                  <a:gd name="connsiteX10" fmla="*/ 118281 w 286603"/>
                  <a:gd name="connsiteY10" fmla="*/ 50042 h 145577"/>
                  <a:gd name="connsiteX11" fmla="*/ 159224 w 286603"/>
                  <a:gd name="connsiteY11" fmla="*/ 81887 h 145577"/>
                  <a:gd name="connsiteX12" fmla="*/ 232012 w 286603"/>
                  <a:gd name="connsiteY12" fmla="*/ 81887 h 145577"/>
                  <a:gd name="connsiteX13" fmla="*/ 177421 w 286603"/>
                  <a:gd name="connsiteY13" fmla="*/ 45493 h 145577"/>
                  <a:gd name="connsiteX14" fmla="*/ 204716 w 286603"/>
                  <a:gd name="connsiteY14" fmla="*/ 0 h 145577"/>
                  <a:gd name="connsiteX15" fmla="*/ 241110 w 286603"/>
                  <a:gd name="connsiteY15" fmla="*/ 54591 h 145577"/>
                  <a:gd name="connsiteX16" fmla="*/ 286603 w 286603"/>
                  <a:gd name="connsiteY16" fmla="*/ 72788 h 14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6603" h="145577">
                    <a:moveTo>
                      <a:pt x="286603" y="72788"/>
                    </a:moveTo>
                    <a:lnTo>
                      <a:pt x="263857" y="109183"/>
                    </a:lnTo>
                    <a:lnTo>
                      <a:pt x="191069" y="113732"/>
                    </a:lnTo>
                    <a:lnTo>
                      <a:pt x="122830" y="145577"/>
                    </a:lnTo>
                    <a:lnTo>
                      <a:pt x="86436" y="122830"/>
                    </a:lnTo>
                    <a:lnTo>
                      <a:pt x="172872" y="95535"/>
                    </a:lnTo>
                    <a:lnTo>
                      <a:pt x="104633" y="95535"/>
                    </a:lnTo>
                    <a:lnTo>
                      <a:pt x="40943" y="104633"/>
                    </a:lnTo>
                    <a:lnTo>
                      <a:pt x="0" y="81887"/>
                    </a:lnTo>
                    <a:lnTo>
                      <a:pt x="54591" y="31845"/>
                    </a:lnTo>
                    <a:lnTo>
                      <a:pt x="118281" y="50042"/>
                    </a:lnTo>
                    <a:lnTo>
                      <a:pt x="159224" y="81887"/>
                    </a:lnTo>
                    <a:lnTo>
                      <a:pt x="232012" y="81887"/>
                    </a:lnTo>
                    <a:lnTo>
                      <a:pt x="177421" y="45493"/>
                    </a:lnTo>
                    <a:lnTo>
                      <a:pt x="204716" y="0"/>
                    </a:lnTo>
                    <a:lnTo>
                      <a:pt x="241110" y="54591"/>
                    </a:lnTo>
                    <a:lnTo>
                      <a:pt x="286603" y="72788"/>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2" name="Friform 37"/>
              <p:cNvSpPr/>
              <p:nvPr/>
            </p:nvSpPr>
            <p:spPr bwMode="auto">
              <a:xfrm>
                <a:off x="2539423" y="2777448"/>
                <a:ext cx="203226" cy="67742"/>
              </a:xfrm>
              <a:custGeom>
                <a:avLst/>
                <a:gdLst>
                  <a:gd name="connsiteX0" fmla="*/ 0 w 259307"/>
                  <a:gd name="connsiteY0" fmla="*/ 9098 h 86436"/>
                  <a:gd name="connsiteX1" fmla="*/ 86436 w 259307"/>
                  <a:gd name="connsiteY1" fmla="*/ 0 h 86436"/>
                  <a:gd name="connsiteX2" fmla="*/ 181970 w 259307"/>
                  <a:gd name="connsiteY2" fmla="*/ 40943 h 86436"/>
                  <a:gd name="connsiteX3" fmla="*/ 259307 w 259307"/>
                  <a:gd name="connsiteY3" fmla="*/ 77337 h 86436"/>
                  <a:gd name="connsiteX4" fmla="*/ 181970 w 259307"/>
                  <a:gd name="connsiteY4" fmla="*/ 86436 h 86436"/>
                  <a:gd name="connsiteX5" fmla="*/ 150125 w 259307"/>
                  <a:gd name="connsiteY5" fmla="*/ 45492 h 86436"/>
                  <a:gd name="connsiteX6" fmla="*/ 86436 w 259307"/>
                  <a:gd name="connsiteY6" fmla="*/ 18197 h 86436"/>
                  <a:gd name="connsiteX7" fmla="*/ 0 w 259307"/>
                  <a:gd name="connsiteY7" fmla="*/ 9098 h 86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307" h="86436">
                    <a:moveTo>
                      <a:pt x="0" y="9098"/>
                    </a:moveTo>
                    <a:lnTo>
                      <a:pt x="86436" y="0"/>
                    </a:lnTo>
                    <a:lnTo>
                      <a:pt x="181970" y="40943"/>
                    </a:lnTo>
                    <a:lnTo>
                      <a:pt x="259307" y="77337"/>
                    </a:lnTo>
                    <a:lnTo>
                      <a:pt x="181970" y="86436"/>
                    </a:lnTo>
                    <a:lnTo>
                      <a:pt x="150125" y="45492"/>
                    </a:lnTo>
                    <a:lnTo>
                      <a:pt x="86436" y="18197"/>
                    </a:lnTo>
                    <a:lnTo>
                      <a:pt x="0" y="9098"/>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3" name="Friform 38"/>
              <p:cNvSpPr/>
              <p:nvPr/>
            </p:nvSpPr>
            <p:spPr bwMode="auto">
              <a:xfrm>
                <a:off x="2724821" y="2838059"/>
                <a:ext cx="139049" cy="57046"/>
              </a:xfrm>
              <a:custGeom>
                <a:avLst/>
                <a:gdLst>
                  <a:gd name="connsiteX0" fmla="*/ 177421 w 177421"/>
                  <a:gd name="connsiteY0" fmla="*/ 36394 h 72788"/>
                  <a:gd name="connsiteX1" fmla="*/ 122830 w 177421"/>
                  <a:gd name="connsiteY1" fmla="*/ 13648 h 72788"/>
                  <a:gd name="connsiteX2" fmla="*/ 59140 w 177421"/>
                  <a:gd name="connsiteY2" fmla="*/ 0 h 72788"/>
                  <a:gd name="connsiteX3" fmla="*/ 59140 w 177421"/>
                  <a:gd name="connsiteY3" fmla="*/ 0 h 72788"/>
                  <a:gd name="connsiteX4" fmla="*/ 63690 w 177421"/>
                  <a:gd name="connsiteY4" fmla="*/ 45493 h 72788"/>
                  <a:gd name="connsiteX5" fmla="*/ 0 w 177421"/>
                  <a:gd name="connsiteY5" fmla="*/ 45493 h 72788"/>
                  <a:gd name="connsiteX6" fmla="*/ 86436 w 177421"/>
                  <a:gd name="connsiteY6" fmla="*/ 72788 h 72788"/>
                  <a:gd name="connsiteX7" fmla="*/ 177421 w 177421"/>
                  <a:gd name="connsiteY7" fmla="*/ 36394 h 72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421" h="72788">
                    <a:moveTo>
                      <a:pt x="177421" y="36394"/>
                    </a:moveTo>
                    <a:lnTo>
                      <a:pt x="122830" y="13648"/>
                    </a:lnTo>
                    <a:lnTo>
                      <a:pt x="59140" y="0"/>
                    </a:lnTo>
                    <a:lnTo>
                      <a:pt x="59140" y="0"/>
                    </a:lnTo>
                    <a:lnTo>
                      <a:pt x="63690" y="45493"/>
                    </a:lnTo>
                    <a:lnTo>
                      <a:pt x="0" y="45493"/>
                    </a:lnTo>
                    <a:lnTo>
                      <a:pt x="86436" y="72788"/>
                    </a:lnTo>
                    <a:lnTo>
                      <a:pt x="177421" y="36394"/>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34" name="Friform 39"/>
              <p:cNvSpPr/>
              <p:nvPr/>
            </p:nvSpPr>
            <p:spPr bwMode="auto">
              <a:xfrm>
                <a:off x="971600" y="1485000"/>
                <a:ext cx="2130009" cy="1279001"/>
              </a:xfrm>
              <a:custGeom>
                <a:avLst/>
                <a:gdLst>
                  <a:gd name="connsiteX0" fmla="*/ 1752600 w 2717800"/>
                  <a:gd name="connsiteY0" fmla="*/ 0 h 1631950"/>
                  <a:gd name="connsiteX1" fmla="*/ 1835150 w 2717800"/>
                  <a:gd name="connsiteY1" fmla="*/ 38100 h 1631950"/>
                  <a:gd name="connsiteX2" fmla="*/ 1771650 w 2717800"/>
                  <a:gd name="connsiteY2" fmla="*/ 82550 h 1631950"/>
                  <a:gd name="connsiteX3" fmla="*/ 1822450 w 2717800"/>
                  <a:gd name="connsiteY3" fmla="*/ 133350 h 1631950"/>
                  <a:gd name="connsiteX4" fmla="*/ 1809750 w 2717800"/>
                  <a:gd name="connsiteY4" fmla="*/ 196850 h 1631950"/>
                  <a:gd name="connsiteX5" fmla="*/ 1847850 w 2717800"/>
                  <a:gd name="connsiteY5" fmla="*/ 196850 h 1631950"/>
                  <a:gd name="connsiteX6" fmla="*/ 1866900 w 2717800"/>
                  <a:gd name="connsiteY6" fmla="*/ 260350 h 1631950"/>
                  <a:gd name="connsiteX7" fmla="*/ 1949450 w 2717800"/>
                  <a:gd name="connsiteY7" fmla="*/ 222250 h 1631950"/>
                  <a:gd name="connsiteX8" fmla="*/ 1905000 w 2717800"/>
                  <a:gd name="connsiteY8" fmla="*/ 260350 h 1631950"/>
                  <a:gd name="connsiteX9" fmla="*/ 1949450 w 2717800"/>
                  <a:gd name="connsiteY9" fmla="*/ 292100 h 1631950"/>
                  <a:gd name="connsiteX10" fmla="*/ 2006600 w 2717800"/>
                  <a:gd name="connsiteY10" fmla="*/ 266700 h 1631950"/>
                  <a:gd name="connsiteX11" fmla="*/ 2012950 w 2717800"/>
                  <a:gd name="connsiteY11" fmla="*/ 196850 h 1631950"/>
                  <a:gd name="connsiteX12" fmla="*/ 2095500 w 2717800"/>
                  <a:gd name="connsiteY12" fmla="*/ 190500 h 1631950"/>
                  <a:gd name="connsiteX13" fmla="*/ 2108200 w 2717800"/>
                  <a:gd name="connsiteY13" fmla="*/ 228600 h 1631950"/>
                  <a:gd name="connsiteX14" fmla="*/ 2044700 w 2717800"/>
                  <a:gd name="connsiteY14" fmla="*/ 247650 h 1631950"/>
                  <a:gd name="connsiteX15" fmla="*/ 2095500 w 2717800"/>
                  <a:gd name="connsiteY15" fmla="*/ 285750 h 1631950"/>
                  <a:gd name="connsiteX16" fmla="*/ 2044700 w 2717800"/>
                  <a:gd name="connsiteY16" fmla="*/ 330200 h 1631950"/>
                  <a:gd name="connsiteX17" fmla="*/ 1949450 w 2717800"/>
                  <a:gd name="connsiteY17" fmla="*/ 317500 h 1631950"/>
                  <a:gd name="connsiteX18" fmla="*/ 2000250 w 2717800"/>
                  <a:gd name="connsiteY18" fmla="*/ 349250 h 1631950"/>
                  <a:gd name="connsiteX19" fmla="*/ 1962150 w 2717800"/>
                  <a:gd name="connsiteY19" fmla="*/ 368300 h 1631950"/>
                  <a:gd name="connsiteX20" fmla="*/ 1873250 w 2717800"/>
                  <a:gd name="connsiteY20" fmla="*/ 342900 h 1631950"/>
                  <a:gd name="connsiteX21" fmla="*/ 1962150 w 2717800"/>
                  <a:gd name="connsiteY21" fmla="*/ 393700 h 1631950"/>
                  <a:gd name="connsiteX22" fmla="*/ 1898650 w 2717800"/>
                  <a:gd name="connsiteY22" fmla="*/ 438150 h 1631950"/>
                  <a:gd name="connsiteX23" fmla="*/ 1797050 w 2717800"/>
                  <a:gd name="connsiteY23" fmla="*/ 419100 h 1631950"/>
                  <a:gd name="connsiteX24" fmla="*/ 1873250 w 2717800"/>
                  <a:gd name="connsiteY24" fmla="*/ 444500 h 1631950"/>
                  <a:gd name="connsiteX25" fmla="*/ 1778000 w 2717800"/>
                  <a:gd name="connsiteY25" fmla="*/ 539750 h 1631950"/>
                  <a:gd name="connsiteX26" fmla="*/ 1758950 w 2717800"/>
                  <a:gd name="connsiteY26" fmla="*/ 635000 h 1631950"/>
                  <a:gd name="connsiteX27" fmla="*/ 1809750 w 2717800"/>
                  <a:gd name="connsiteY27" fmla="*/ 641350 h 1631950"/>
                  <a:gd name="connsiteX28" fmla="*/ 1835150 w 2717800"/>
                  <a:gd name="connsiteY28" fmla="*/ 704850 h 1631950"/>
                  <a:gd name="connsiteX29" fmla="*/ 1911350 w 2717800"/>
                  <a:gd name="connsiteY29" fmla="*/ 698500 h 1631950"/>
                  <a:gd name="connsiteX30" fmla="*/ 1987550 w 2717800"/>
                  <a:gd name="connsiteY30" fmla="*/ 730250 h 1631950"/>
                  <a:gd name="connsiteX31" fmla="*/ 2082800 w 2717800"/>
                  <a:gd name="connsiteY31" fmla="*/ 749300 h 1631950"/>
                  <a:gd name="connsiteX32" fmla="*/ 2082800 w 2717800"/>
                  <a:gd name="connsiteY32" fmla="*/ 819150 h 1631950"/>
                  <a:gd name="connsiteX33" fmla="*/ 2133600 w 2717800"/>
                  <a:gd name="connsiteY33" fmla="*/ 901700 h 1631950"/>
                  <a:gd name="connsiteX34" fmla="*/ 2152650 w 2717800"/>
                  <a:gd name="connsiteY34" fmla="*/ 863600 h 1631950"/>
                  <a:gd name="connsiteX35" fmla="*/ 2139950 w 2717800"/>
                  <a:gd name="connsiteY35" fmla="*/ 755650 h 1631950"/>
                  <a:gd name="connsiteX36" fmla="*/ 2190750 w 2717800"/>
                  <a:gd name="connsiteY36" fmla="*/ 723900 h 1631950"/>
                  <a:gd name="connsiteX37" fmla="*/ 2197100 w 2717800"/>
                  <a:gd name="connsiteY37" fmla="*/ 673100 h 1631950"/>
                  <a:gd name="connsiteX38" fmla="*/ 2184400 w 2717800"/>
                  <a:gd name="connsiteY38" fmla="*/ 590550 h 1631950"/>
                  <a:gd name="connsiteX39" fmla="*/ 2171700 w 2717800"/>
                  <a:gd name="connsiteY39" fmla="*/ 469900 h 1631950"/>
                  <a:gd name="connsiteX40" fmla="*/ 2235200 w 2717800"/>
                  <a:gd name="connsiteY40" fmla="*/ 501650 h 1631950"/>
                  <a:gd name="connsiteX41" fmla="*/ 2266950 w 2717800"/>
                  <a:gd name="connsiteY41" fmla="*/ 469900 h 1631950"/>
                  <a:gd name="connsiteX42" fmla="*/ 2355850 w 2717800"/>
                  <a:gd name="connsiteY42" fmla="*/ 539750 h 1631950"/>
                  <a:gd name="connsiteX43" fmla="*/ 2374900 w 2717800"/>
                  <a:gd name="connsiteY43" fmla="*/ 596900 h 1631950"/>
                  <a:gd name="connsiteX44" fmla="*/ 2438400 w 2717800"/>
                  <a:gd name="connsiteY44" fmla="*/ 635000 h 1631950"/>
                  <a:gd name="connsiteX45" fmla="*/ 2482850 w 2717800"/>
                  <a:gd name="connsiteY45" fmla="*/ 571500 h 1631950"/>
                  <a:gd name="connsiteX46" fmla="*/ 2552700 w 2717800"/>
                  <a:gd name="connsiteY46" fmla="*/ 654050 h 1631950"/>
                  <a:gd name="connsiteX47" fmla="*/ 2571750 w 2717800"/>
                  <a:gd name="connsiteY47" fmla="*/ 723900 h 1631950"/>
                  <a:gd name="connsiteX48" fmla="*/ 2698750 w 2717800"/>
                  <a:gd name="connsiteY48" fmla="*/ 787400 h 1631950"/>
                  <a:gd name="connsiteX49" fmla="*/ 2717800 w 2717800"/>
                  <a:gd name="connsiteY49" fmla="*/ 844550 h 1631950"/>
                  <a:gd name="connsiteX50" fmla="*/ 2635250 w 2717800"/>
                  <a:gd name="connsiteY50" fmla="*/ 869950 h 1631950"/>
                  <a:gd name="connsiteX51" fmla="*/ 2546350 w 2717800"/>
                  <a:gd name="connsiteY51" fmla="*/ 908050 h 1631950"/>
                  <a:gd name="connsiteX52" fmla="*/ 2432050 w 2717800"/>
                  <a:gd name="connsiteY52" fmla="*/ 920750 h 1631950"/>
                  <a:gd name="connsiteX53" fmla="*/ 2349500 w 2717800"/>
                  <a:gd name="connsiteY53" fmla="*/ 1028700 h 1631950"/>
                  <a:gd name="connsiteX54" fmla="*/ 2413000 w 2717800"/>
                  <a:gd name="connsiteY54" fmla="*/ 958850 h 1631950"/>
                  <a:gd name="connsiteX55" fmla="*/ 2520950 w 2717800"/>
                  <a:gd name="connsiteY55" fmla="*/ 958850 h 1631950"/>
                  <a:gd name="connsiteX56" fmla="*/ 2482850 w 2717800"/>
                  <a:gd name="connsiteY56" fmla="*/ 1003300 h 1631950"/>
                  <a:gd name="connsiteX57" fmla="*/ 2533650 w 2717800"/>
                  <a:gd name="connsiteY57" fmla="*/ 1047750 h 1631950"/>
                  <a:gd name="connsiteX58" fmla="*/ 2584450 w 2717800"/>
                  <a:gd name="connsiteY58" fmla="*/ 1016000 h 1631950"/>
                  <a:gd name="connsiteX59" fmla="*/ 2635250 w 2717800"/>
                  <a:gd name="connsiteY59" fmla="*/ 1047750 h 1631950"/>
                  <a:gd name="connsiteX60" fmla="*/ 2546350 w 2717800"/>
                  <a:gd name="connsiteY60" fmla="*/ 1073150 h 1631950"/>
                  <a:gd name="connsiteX61" fmla="*/ 2463800 w 2717800"/>
                  <a:gd name="connsiteY61" fmla="*/ 1130300 h 1631950"/>
                  <a:gd name="connsiteX62" fmla="*/ 2451100 w 2717800"/>
                  <a:gd name="connsiteY62" fmla="*/ 1098550 h 1631950"/>
                  <a:gd name="connsiteX63" fmla="*/ 2514600 w 2717800"/>
                  <a:gd name="connsiteY63" fmla="*/ 1054100 h 1631950"/>
                  <a:gd name="connsiteX64" fmla="*/ 2451100 w 2717800"/>
                  <a:gd name="connsiteY64" fmla="*/ 1054100 h 1631950"/>
                  <a:gd name="connsiteX65" fmla="*/ 2355850 w 2717800"/>
                  <a:gd name="connsiteY65" fmla="*/ 1111250 h 1631950"/>
                  <a:gd name="connsiteX66" fmla="*/ 2362200 w 2717800"/>
                  <a:gd name="connsiteY66" fmla="*/ 1174750 h 1631950"/>
                  <a:gd name="connsiteX67" fmla="*/ 2298700 w 2717800"/>
                  <a:gd name="connsiteY67" fmla="*/ 1143000 h 1631950"/>
                  <a:gd name="connsiteX68" fmla="*/ 2298700 w 2717800"/>
                  <a:gd name="connsiteY68" fmla="*/ 1200150 h 1631950"/>
                  <a:gd name="connsiteX69" fmla="*/ 2235200 w 2717800"/>
                  <a:gd name="connsiteY69" fmla="*/ 1270000 h 1631950"/>
                  <a:gd name="connsiteX70" fmla="*/ 2197100 w 2717800"/>
                  <a:gd name="connsiteY70" fmla="*/ 1225550 h 1631950"/>
                  <a:gd name="connsiteX71" fmla="*/ 2216150 w 2717800"/>
                  <a:gd name="connsiteY71" fmla="*/ 1327150 h 1631950"/>
                  <a:gd name="connsiteX72" fmla="*/ 2089150 w 2717800"/>
                  <a:gd name="connsiteY72" fmla="*/ 1435100 h 1631950"/>
                  <a:gd name="connsiteX73" fmla="*/ 2108200 w 2717800"/>
                  <a:gd name="connsiteY73" fmla="*/ 1530350 h 1631950"/>
                  <a:gd name="connsiteX74" fmla="*/ 2139950 w 2717800"/>
                  <a:gd name="connsiteY74" fmla="*/ 1631950 h 1631950"/>
                  <a:gd name="connsiteX75" fmla="*/ 2070100 w 2717800"/>
                  <a:gd name="connsiteY75" fmla="*/ 1581150 h 1631950"/>
                  <a:gd name="connsiteX76" fmla="*/ 2057400 w 2717800"/>
                  <a:gd name="connsiteY76" fmla="*/ 1511300 h 1631950"/>
                  <a:gd name="connsiteX77" fmla="*/ 1993900 w 2717800"/>
                  <a:gd name="connsiteY77" fmla="*/ 1479550 h 1631950"/>
                  <a:gd name="connsiteX78" fmla="*/ 1898650 w 2717800"/>
                  <a:gd name="connsiteY78" fmla="*/ 1504950 h 1631950"/>
                  <a:gd name="connsiteX79" fmla="*/ 1803400 w 2717800"/>
                  <a:gd name="connsiteY79" fmla="*/ 1479550 h 1631950"/>
                  <a:gd name="connsiteX80" fmla="*/ 1718231 w 2717800"/>
                  <a:gd name="connsiteY80" fmla="*/ 1530651 h 1631950"/>
                  <a:gd name="connsiteX81" fmla="*/ 1565294 w 2717800"/>
                  <a:gd name="connsiteY81" fmla="*/ 1450359 h 1631950"/>
                  <a:gd name="connsiteX82" fmla="*/ 1190108 w 2717800"/>
                  <a:gd name="connsiteY82" fmla="*/ 1399658 h 1631950"/>
                  <a:gd name="connsiteX83" fmla="*/ 1136650 w 2717800"/>
                  <a:gd name="connsiteY83" fmla="*/ 1346200 h 1631950"/>
                  <a:gd name="connsiteX84" fmla="*/ 1066800 w 2717800"/>
                  <a:gd name="connsiteY84" fmla="*/ 1200150 h 1631950"/>
                  <a:gd name="connsiteX85" fmla="*/ 1060450 w 2717800"/>
                  <a:gd name="connsiteY85" fmla="*/ 1098550 h 1631950"/>
                  <a:gd name="connsiteX86" fmla="*/ 1060450 w 2717800"/>
                  <a:gd name="connsiteY86" fmla="*/ 990600 h 1631950"/>
                  <a:gd name="connsiteX87" fmla="*/ 952500 w 2717800"/>
                  <a:gd name="connsiteY87" fmla="*/ 933450 h 1631950"/>
                  <a:gd name="connsiteX88" fmla="*/ 990600 w 2717800"/>
                  <a:gd name="connsiteY88" fmla="*/ 927100 h 1631950"/>
                  <a:gd name="connsiteX89" fmla="*/ 1098550 w 2717800"/>
                  <a:gd name="connsiteY89" fmla="*/ 990600 h 1631950"/>
                  <a:gd name="connsiteX90" fmla="*/ 1066800 w 2717800"/>
                  <a:gd name="connsiteY90" fmla="*/ 927100 h 1631950"/>
                  <a:gd name="connsiteX91" fmla="*/ 977900 w 2717800"/>
                  <a:gd name="connsiteY91" fmla="*/ 876300 h 1631950"/>
                  <a:gd name="connsiteX92" fmla="*/ 908050 w 2717800"/>
                  <a:gd name="connsiteY92" fmla="*/ 800100 h 1631950"/>
                  <a:gd name="connsiteX93" fmla="*/ 850900 w 2717800"/>
                  <a:gd name="connsiteY93" fmla="*/ 673100 h 1631950"/>
                  <a:gd name="connsiteX94" fmla="*/ 774700 w 2717800"/>
                  <a:gd name="connsiteY94" fmla="*/ 615950 h 1631950"/>
                  <a:gd name="connsiteX95" fmla="*/ 876300 w 2717800"/>
                  <a:gd name="connsiteY95" fmla="*/ 793750 h 1631950"/>
                  <a:gd name="connsiteX96" fmla="*/ 831850 w 2717800"/>
                  <a:gd name="connsiteY96" fmla="*/ 736600 h 1631950"/>
                  <a:gd name="connsiteX97" fmla="*/ 755650 w 2717800"/>
                  <a:gd name="connsiteY97" fmla="*/ 666750 h 1631950"/>
                  <a:gd name="connsiteX98" fmla="*/ 685800 w 2717800"/>
                  <a:gd name="connsiteY98" fmla="*/ 577850 h 1631950"/>
                  <a:gd name="connsiteX99" fmla="*/ 590550 w 2717800"/>
                  <a:gd name="connsiteY99" fmla="*/ 571500 h 1631950"/>
                  <a:gd name="connsiteX100" fmla="*/ 450850 w 2717800"/>
                  <a:gd name="connsiteY100" fmla="*/ 508000 h 1631950"/>
                  <a:gd name="connsiteX101" fmla="*/ 482600 w 2717800"/>
                  <a:gd name="connsiteY101" fmla="*/ 552450 h 1631950"/>
                  <a:gd name="connsiteX102" fmla="*/ 393700 w 2717800"/>
                  <a:gd name="connsiteY102" fmla="*/ 603250 h 1631950"/>
                  <a:gd name="connsiteX103" fmla="*/ 412750 w 2717800"/>
                  <a:gd name="connsiteY103" fmla="*/ 508000 h 1631950"/>
                  <a:gd name="connsiteX104" fmla="*/ 317500 w 2717800"/>
                  <a:gd name="connsiteY104" fmla="*/ 590550 h 1631950"/>
                  <a:gd name="connsiteX105" fmla="*/ 361950 w 2717800"/>
                  <a:gd name="connsiteY105" fmla="*/ 609600 h 1631950"/>
                  <a:gd name="connsiteX106" fmla="*/ 273050 w 2717800"/>
                  <a:gd name="connsiteY106" fmla="*/ 692150 h 1631950"/>
                  <a:gd name="connsiteX107" fmla="*/ 76200 w 2717800"/>
                  <a:gd name="connsiteY107" fmla="*/ 762000 h 1631950"/>
                  <a:gd name="connsiteX108" fmla="*/ 196850 w 2717800"/>
                  <a:gd name="connsiteY108" fmla="*/ 698500 h 1631950"/>
                  <a:gd name="connsiteX109" fmla="*/ 266700 w 2717800"/>
                  <a:gd name="connsiteY109" fmla="*/ 635000 h 1631950"/>
                  <a:gd name="connsiteX110" fmla="*/ 196850 w 2717800"/>
                  <a:gd name="connsiteY110" fmla="*/ 635000 h 1631950"/>
                  <a:gd name="connsiteX111" fmla="*/ 152400 w 2717800"/>
                  <a:gd name="connsiteY111" fmla="*/ 584200 h 1631950"/>
                  <a:gd name="connsiteX112" fmla="*/ 95250 w 2717800"/>
                  <a:gd name="connsiteY112" fmla="*/ 603250 h 1631950"/>
                  <a:gd name="connsiteX113" fmla="*/ 19050 w 2717800"/>
                  <a:gd name="connsiteY113" fmla="*/ 546100 h 1631950"/>
                  <a:gd name="connsiteX114" fmla="*/ 63500 w 2717800"/>
                  <a:gd name="connsiteY114" fmla="*/ 469900 h 1631950"/>
                  <a:gd name="connsiteX115" fmla="*/ 158750 w 2717800"/>
                  <a:gd name="connsiteY115" fmla="*/ 457200 h 1631950"/>
                  <a:gd name="connsiteX116" fmla="*/ 146050 w 2717800"/>
                  <a:gd name="connsiteY116" fmla="*/ 412750 h 1631950"/>
                  <a:gd name="connsiteX117" fmla="*/ 44450 w 2717800"/>
                  <a:gd name="connsiteY117" fmla="*/ 412750 h 1631950"/>
                  <a:gd name="connsiteX118" fmla="*/ 0 w 2717800"/>
                  <a:gd name="connsiteY118" fmla="*/ 342900 h 1631950"/>
                  <a:gd name="connsiteX119" fmla="*/ 69850 w 2717800"/>
                  <a:gd name="connsiteY119" fmla="*/ 349250 h 1631950"/>
                  <a:gd name="connsiteX120" fmla="*/ 158750 w 2717800"/>
                  <a:gd name="connsiteY120" fmla="*/ 349250 h 1631950"/>
                  <a:gd name="connsiteX121" fmla="*/ 107950 w 2717800"/>
                  <a:gd name="connsiteY121" fmla="*/ 330200 h 1631950"/>
                  <a:gd name="connsiteX122" fmla="*/ 76200 w 2717800"/>
                  <a:gd name="connsiteY122" fmla="*/ 247650 h 1631950"/>
                  <a:gd name="connsiteX123" fmla="*/ 114300 w 2717800"/>
                  <a:gd name="connsiteY123" fmla="*/ 196850 h 1631950"/>
                  <a:gd name="connsiteX124" fmla="*/ 184150 w 2717800"/>
                  <a:gd name="connsiteY124" fmla="*/ 152400 h 1631950"/>
                  <a:gd name="connsiteX125" fmla="*/ 279400 w 2717800"/>
                  <a:gd name="connsiteY125" fmla="*/ 139700 h 1631950"/>
                  <a:gd name="connsiteX126" fmla="*/ 381000 w 2717800"/>
                  <a:gd name="connsiteY126" fmla="*/ 171450 h 1631950"/>
                  <a:gd name="connsiteX127" fmla="*/ 596900 w 2717800"/>
                  <a:gd name="connsiteY127" fmla="*/ 196850 h 1631950"/>
                  <a:gd name="connsiteX128" fmla="*/ 768350 w 2717800"/>
                  <a:gd name="connsiteY128" fmla="*/ 234950 h 1631950"/>
                  <a:gd name="connsiteX129" fmla="*/ 927100 w 2717800"/>
                  <a:gd name="connsiteY129" fmla="*/ 165100 h 1631950"/>
                  <a:gd name="connsiteX130" fmla="*/ 838200 w 2717800"/>
                  <a:gd name="connsiteY130" fmla="*/ 228600 h 1631950"/>
                  <a:gd name="connsiteX131" fmla="*/ 901700 w 2717800"/>
                  <a:gd name="connsiteY131" fmla="*/ 228600 h 1631950"/>
                  <a:gd name="connsiteX132" fmla="*/ 990600 w 2717800"/>
                  <a:gd name="connsiteY132" fmla="*/ 165100 h 1631950"/>
                  <a:gd name="connsiteX133" fmla="*/ 1066800 w 2717800"/>
                  <a:gd name="connsiteY133" fmla="*/ 215900 h 1631950"/>
                  <a:gd name="connsiteX134" fmla="*/ 1111250 w 2717800"/>
                  <a:gd name="connsiteY134" fmla="*/ 171450 h 1631950"/>
                  <a:gd name="connsiteX135" fmla="*/ 1263650 w 2717800"/>
                  <a:gd name="connsiteY135" fmla="*/ 222250 h 1631950"/>
                  <a:gd name="connsiteX136" fmla="*/ 1314450 w 2717800"/>
                  <a:gd name="connsiteY136" fmla="*/ 241300 h 1631950"/>
                  <a:gd name="connsiteX137" fmla="*/ 1263650 w 2717800"/>
                  <a:gd name="connsiteY137" fmla="*/ 285750 h 1631950"/>
                  <a:gd name="connsiteX138" fmla="*/ 1403350 w 2717800"/>
                  <a:gd name="connsiteY138" fmla="*/ 279400 h 1631950"/>
                  <a:gd name="connsiteX139" fmla="*/ 1447800 w 2717800"/>
                  <a:gd name="connsiteY139" fmla="*/ 336550 h 1631950"/>
                  <a:gd name="connsiteX140" fmla="*/ 1447800 w 2717800"/>
                  <a:gd name="connsiteY140" fmla="*/ 260350 h 1631950"/>
                  <a:gd name="connsiteX141" fmla="*/ 1511300 w 2717800"/>
                  <a:gd name="connsiteY141" fmla="*/ 254000 h 1631950"/>
                  <a:gd name="connsiteX142" fmla="*/ 1600200 w 2717800"/>
                  <a:gd name="connsiteY142" fmla="*/ 266700 h 1631950"/>
                  <a:gd name="connsiteX143" fmla="*/ 1701800 w 2717800"/>
                  <a:gd name="connsiteY143" fmla="*/ 266700 h 1631950"/>
                  <a:gd name="connsiteX144" fmla="*/ 1746250 w 2717800"/>
                  <a:gd name="connsiteY144" fmla="*/ 323850 h 1631950"/>
                  <a:gd name="connsiteX145" fmla="*/ 1765300 w 2717800"/>
                  <a:gd name="connsiteY145" fmla="*/ 273050 h 1631950"/>
                  <a:gd name="connsiteX146" fmla="*/ 1771650 w 2717800"/>
                  <a:gd name="connsiteY146" fmla="*/ 222250 h 1631950"/>
                  <a:gd name="connsiteX147" fmla="*/ 1714500 w 2717800"/>
                  <a:gd name="connsiteY147" fmla="*/ 165100 h 1631950"/>
                  <a:gd name="connsiteX148" fmla="*/ 1720850 w 2717800"/>
                  <a:gd name="connsiteY148" fmla="*/ 50800 h 163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2717800" h="1631950">
                    <a:moveTo>
                      <a:pt x="1752600" y="0"/>
                    </a:moveTo>
                    <a:lnTo>
                      <a:pt x="1835150" y="38100"/>
                    </a:lnTo>
                    <a:lnTo>
                      <a:pt x="1771650" y="82550"/>
                    </a:lnTo>
                    <a:lnTo>
                      <a:pt x="1822450" y="133350"/>
                    </a:lnTo>
                    <a:lnTo>
                      <a:pt x="1809750" y="196850"/>
                    </a:lnTo>
                    <a:lnTo>
                      <a:pt x="1847850" y="196850"/>
                    </a:lnTo>
                    <a:lnTo>
                      <a:pt x="1866900" y="260350"/>
                    </a:lnTo>
                    <a:lnTo>
                      <a:pt x="1949450" y="222250"/>
                    </a:lnTo>
                    <a:lnTo>
                      <a:pt x="1905000" y="260350"/>
                    </a:lnTo>
                    <a:lnTo>
                      <a:pt x="1949450" y="292100"/>
                    </a:lnTo>
                    <a:lnTo>
                      <a:pt x="2006600" y="266700"/>
                    </a:lnTo>
                    <a:lnTo>
                      <a:pt x="2012950" y="196850"/>
                    </a:lnTo>
                    <a:lnTo>
                      <a:pt x="2095500" y="190500"/>
                    </a:lnTo>
                    <a:lnTo>
                      <a:pt x="2108200" y="228600"/>
                    </a:lnTo>
                    <a:lnTo>
                      <a:pt x="2044700" y="247650"/>
                    </a:lnTo>
                    <a:lnTo>
                      <a:pt x="2095500" y="285750"/>
                    </a:lnTo>
                    <a:lnTo>
                      <a:pt x="2044700" y="330200"/>
                    </a:lnTo>
                    <a:lnTo>
                      <a:pt x="1949450" y="317500"/>
                    </a:lnTo>
                    <a:lnTo>
                      <a:pt x="2000250" y="349250"/>
                    </a:lnTo>
                    <a:lnTo>
                      <a:pt x="1962150" y="368300"/>
                    </a:lnTo>
                    <a:lnTo>
                      <a:pt x="1873250" y="342900"/>
                    </a:lnTo>
                    <a:lnTo>
                      <a:pt x="1962150" y="393700"/>
                    </a:lnTo>
                    <a:lnTo>
                      <a:pt x="1898650" y="438150"/>
                    </a:lnTo>
                    <a:lnTo>
                      <a:pt x="1797050" y="419100"/>
                    </a:lnTo>
                    <a:lnTo>
                      <a:pt x="1873250" y="444500"/>
                    </a:lnTo>
                    <a:lnTo>
                      <a:pt x="1778000" y="539750"/>
                    </a:lnTo>
                    <a:lnTo>
                      <a:pt x="1758950" y="635000"/>
                    </a:lnTo>
                    <a:lnTo>
                      <a:pt x="1809750" y="641350"/>
                    </a:lnTo>
                    <a:lnTo>
                      <a:pt x="1835150" y="704850"/>
                    </a:lnTo>
                    <a:lnTo>
                      <a:pt x="1911350" y="698500"/>
                    </a:lnTo>
                    <a:lnTo>
                      <a:pt x="1987550" y="730250"/>
                    </a:lnTo>
                    <a:lnTo>
                      <a:pt x="2082800" y="749300"/>
                    </a:lnTo>
                    <a:lnTo>
                      <a:pt x="2082800" y="819150"/>
                    </a:lnTo>
                    <a:lnTo>
                      <a:pt x="2133600" y="901700"/>
                    </a:lnTo>
                    <a:lnTo>
                      <a:pt x="2152650" y="863600"/>
                    </a:lnTo>
                    <a:lnTo>
                      <a:pt x="2139950" y="755650"/>
                    </a:lnTo>
                    <a:lnTo>
                      <a:pt x="2190750" y="723900"/>
                    </a:lnTo>
                    <a:lnTo>
                      <a:pt x="2197100" y="673100"/>
                    </a:lnTo>
                    <a:lnTo>
                      <a:pt x="2184400" y="590550"/>
                    </a:lnTo>
                    <a:lnTo>
                      <a:pt x="2171700" y="469900"/>
                    </a:lnTo>
                    <a:lnTo>
                      <a:pt x="2235200" y="501650"/>
                    </a:lnTo>
                    <a:lnTo>
                      <a:pt x="2266950" y="469900"/>
                    </a:lnTo>
                    <a:lnTo>
                      <a:pt x="2355850" y="539750"/>
                    </a:lnTo>
                    <a:lnTo>
                      <a:pt x="2374900" y="596900"/>
                    </a:lnTo>
                    <a:lnTo>
                      <a:pt x="2438400" y="635000"/>
                    </a:lnTo>
                    <a:lnTo>
                      <a:pt x="2482850" y="571500"/>
                    </a:lnTo>
                    <a:lnTo>
                      <a:pt x="2552700" y="654050"/>
                    </a:lnTo>
                    <a:lnTo>
                      <a:pt x="2571750" y="723900"/>
                    </a:lnTo>
                    <a:lnTo>
                      <a:pt x="2698750" y="787400"/>
                    </a:lnTo>
                    <a:lnTo>
                      <a:pt x="2717800" y="844550"/>
                    </a:lnTo>
                    <a:lnTo>
                      <a:pt x="2635250" y="869950"/>
                    </a:lnTo>
                    <a:lnTo>
                      <a:pt x="2546350" y="908050"/>
                    </a:lnTo>
                    <a:lnTo>
                      <a:pt x="2432050" y="920750"/>
                    </a:lnTo>
                    <a:lnTo>
                      <a:pt x="2349500" y="1028700"/>
                    </a:lnTo>
                    <a:lnTo>
                      <a:pt x="2413000" y="958850"/>
                    </a:lnTo>
                    <a:lnTo>
                      <a:pt x="2520950" y="958850"/>
                    </a:lnTo>
                    <a:lnTo>
                      <a:pt x="2482850" y="1003300"/>
                    </a:lnTo>
                    <a:lnTo>
                      <a:pt x="2533650" y="1047750"/>
                    </a:lnTo>
                    <a:lnTo>
                      <a:pt x="2584450" y="1016000"/>
                    </a:lnTo>
                    <a:lnTo>
                      <a:pt x="2635250" y="1047750"/>
                    </a:lnTo>
                    <a:lnTo>
                      <a:pt x="2546350" y="1073150"/>
                    </a:lnTo>
                    <a:lnTo>
                      <a:pt x="2463800" y="1130300"/>
                    </a:lnTo>
                    <a:lnTo>
                      <a:pt x="2451100" y="1098550"/>
                    </a:lnTo>
                    <a:lnTo>
                      <a:pt x="2514600" y="1054100"/>
                    </a:lnTo>
                    <a:lnTo>
                      <a:pt x="2451100" y="1054100"/>
                    </a:lnTo>
                    <a:lnTo>
                      <a:pt x="2355850" y="1111250"/>
                    </a:lnTo>
                    <a:lnTo>
                      <a:pt x="2362200" y="1174750"/>
                    </a:lnTo>
                    <a:lnTo>
                      <a:pt x="2298700" y="1143000"/>
                    </a:lnTo>
                    <a:lnTo>
                      <a:pt x="2298700" y="1200150"/>
                    </a:lnTo>
                    <a:lnTo>
                      <a:pt x="2235200" y="1270000"/>
                    </a:lnTo>
                    <a:lnTo>
                      <a:pt x="2197100" y="1225550"/>
                    </a:lnTo>
                    <a:lnTo>
                      <a:pt x="2216150" y="1327150"/>
                    </a:lnTo>
                    <a:lnTo>
                      <a:pt x="2089150" y="1435100"/>
                    </a:lnTo>
                    <a:lnTo>
                      <a:pt x="2108200" y="1530350"/>
                    </a:lnTo>
                    <a:lnTo>
                      <a:pt x="2139950" y="1631950"/>
                    </a:lnTo>
                    <a:lnTo>
                      <a:pt x="2070100" y="1581150"/>
                    </a:lnTo>
                    <a:lnTo>
                      <a:pt x="2057400" y="1511300"/>
                    </a:lnTo>
                    <a:lnTo>
                      <a:pt x="1993900" y="1479550"/>
                    </a:lnTo>
                    <a:lnTo>
                      <a:pt x="1898650" y="1504950"/>
                    </a:lnTo>
                    <a:lnTo>
                      <a:pt x="1803400" y="1479550"/>
                    </a:lnTo>
                    <a:lnTo>
                      <a:pt x="1718231" y="1530651"/>
                    </a:lnTo>
                    <a:lnTo>
                      <a:pt x="1565294" y="1450359"/>
                    </a:lnTo>
                    <a:lnTo>
                      <a:pt x="1190108" y="1399658"/>
                    </a:lnTo>
                    <a:lnTo>
                      <a:pt x="1136650" y="1346200"/>
                    </a:lnTo>
                    <a:lnTo>
                      <a:pt x="1066800" y="1200150"/>
                    </a:lnTo>
                    <a:lnTo>
                      <a:pt x="1060450" y="1098550"/>
                    </a:lnTo>
                    <a:lnTo>
                      <a:pt x="1060450" y="990600"/>
                    </a:lnTo>
                    <a:lnTo>
                      <a:pt x="952500" y="933450"/>
                    </a:lnTo>
                    <a:lnTo>
                      <a:pt x="990600" y="927100"/>
                    </a:lnTo>
                    <a:lnTo>
                      <a:pt x="1098550" y="990600"/>
                    </a:lnTo>
                    <a:lnTo>
                      <a:pt x="1066800" y="927100"/>
                    </a:lnTo>
                    <a:lnTo>
                      <a:pt x="977900" y="876300"/>
                    </a:lnTo>
                    <a:lnTo>
                      <a:pt x="908050" y="800100"/>
                    </a:lnTo>
                    <a:lnTo>
                      <a:pt x="850900" y="673100"/>
                    </a:lnTo>
                    <a:lnTo>
                      <a:pt x="774700" y="615950"/>
                    </a:lnTo>
                    <a:lnTo>
                      <a:pt x="876300" y="793750"/>
                    </a:lnTo>
                    <a:lnTo>
                      <a:pt x="831850" y="736600"/>
                    </a:lnTo>
                    <a:lnTo>
                      <a:pt x="755650" y="666750"/>
                    </a:lnTo>
                    <a:lnTo>
                      <a:pt x="685800" y="577850"/>
                    </a:lnTo>
                    <a:lnTo>
                      <a:pt x="590550" y="571500"/>
                    </a:lnTo>
                    <a:lnTo>
                      <a:pt x="450850" y="508000"/>
                    </a:lnTo>
                    <a:lnTo>
                      <a:pt x="482600" y="552450"/>
                    </a:lnTo>
                    <a:lnTo>
                      <a:pt x="393700" y="603250"/>
                    </a:lnTo>
                    <a:lnTo>
                      <a:pt x="412750" y="508000"/>
                    </a:lnTo>
                    <a:lnTo>
                      <a:pt x="317500" y="590550"/>
                    </a:lnTo>
                    <a:lnTo>
                      <a:pt x="361950" y="609600"/>
                    </a:lnTo>
                    <a:lnTo>
                      <a:pt x="273050" y="692150"/>
                    </a:lnTo>
                    <a:lnTo>
                      <a:pt x="76200" y="762000"/>
                    </a:lnTo>
                    <a:lnTo>
                      <a:pt x="196850" y="698500"/>
                    </a:lnTo>
                    <a:lnTo>
                      <a:pt x="266700" y="635000"/>
                    </a:lnTo>
                    <a:lnTo>
                      <a:pt x="196850" y="635000"/>
                    </a:lnTo>
                    <a:lnTo>
                      <a:pt x="152400" y="584200"/>
                    </a:lnTo>
                    <a:lnTo>
                      <a:pt x="95250" y="603250"/>
                    </a:lnTo>
                    <a:lnTo>
                      <a:pt x="19050" y="546100"/>
                    </a:lnTo>
                    <a:lnTo>
                      <a:pt x="63500" y="469900"/>
                    </a:lnTo>
                    <a:lnTo>
                      <a:pt x="158750" y="457200"/>
                    </a:lnTo>
                    <a:lnTo>
                      <a:pt x="146050" y="412750"/>
                    </a:lnTo>
                    <a:lnTo>
                      <a:pt x="44450" y="412750"/>
                    </a:lnTo>
                    <a:lnTo>
                      <a:pt x="0" y="342900"/>
                    </a:lnTo>
                    <a:lnTo>
                      <a:pt x="69850" y="349250"/>
                    </a:lnTo>
                    <a:lnTo>
                      <a:pt x="158750" y="349250"/>
                    </a:lnTo>
                    <a:lnTo>
                      <a:pt x="107950" y="330200"/>
                    </a:lnTo>
                    <a:lnTo>
                      <a:pt x="76200" y="247650"/>
                    </a:lnTo>
                    <a:lnTo>
                      <a:pt x="114300" y="196850"/>
                    </a:lnTo>
                    <a:lnTo>
                      <a:pt x="184150" y="152400"/>
                    </a:lnTo>
                    <a:lnTo>
                      <a:pt x="279400" y="139700"/>
                    </a:lnTo>
                    <a:lnTo>
                      <a:pt x="381000" y="171450"/>
                    </a:lnTo>
                    <a:lnTo>
                      <a:pt x="596900" y="196850"/>
                    </a:lnTo>
                    <a:lnTo>
                      <a:pt x="768350" y="234950"/>
                    </a:lnTo>
                    <a:lnTo>
                      <a:pt x="927100" y="165100"/>
                    </a:lnTo>
                    <a:lnTo>
                      <a:pt x="838200" y="228600"/>
                    </a:lnTo>
                    <a:lnTo>
                      <a:pt x="901700" y="228600"/>
                    </a:lnTo>
                    <a:lnTo>
                      <a:pt x="990600" y="165100"/>
                    </a:lnTo>
                    <a:lnTo>
                      <a:pt x="1066800" y="215900"/>
                    </a:lnTo>
                    <a:lnTo>
                      <a:pt x="1111250" y="171450"/>
                    </a:lnTo>
                    <a:lnTo>
                      <a:pt x="1263650" y="222250"/>
                    </a:lnTo>
                    <a:lnTo>
                      <a:pt x="1314450" y="241300"/>
                    </a:lnTo>
                    <a:lnTo>
                      <a:pt x="1263650" y="285750"/>
                    </a:lnTo>
                    <a:lnTo>
                      <a:pt x="1403350" y="279400"/>
                    </a:lnTo>
                    <a:lnTo>
                      <a:pt x="1447800" y="336550"/>
                    </a:lnTo>
                    <a:lnTo>
                      <a:pt x="1447800" y="260350"/>
                    </a:lnTo>
                    <a:lnTo>
                      <a:pt x="1511300" y="254000"/>
                    </a:lnTo>
                    <a:lnTo>
                      <a:pt x="1600200" y="266700"/>
                    </a:lnTo>
                    <a:lnTo>
                      <a:pt x="1701800" y="266700"/>
                    </a:lnTo>
                    <a:lnTo>
                      <a:pt x="1746250" y="323850"/>
                    </a:lnTo>
                    <a:lnTo>
                      <a:pt x="1765300" y="273050"/>
                    </a:lnTo>
                    <a:lnTo>
                      <a:pt x="1771650" y="222250"/>
                    </a:lnTo>
                    <a:lnTo>
                      <a:pt x="1714500" y="165100"/>
                    </a:lnTo>
                    <a:lnTo>
                      <a:pt x="1720850" y="5080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grpSp>
        <p:grpSp>
          <p:nvGrpSpPr>
            <p:cNvPr id="302" name="Gruppe 40"/>
            <p:cNvGrpSpPr/>
            <p:nvPr/>
          </p:nvGrpSpPr>
          <p:grpSpPr>
            <a:xfrm>
              <a:off x="4738305" y="1512893"/>
              <a:ext cx="3194345" cy="2244472"/>
              <a:chOff x="4643396" y="1184064"/>
              <a:chExt cx="3194345" cy="2244472"/>
            </a:xfrm>
            <a:grpFill/>
          </p:grpSpPr>
          <p:sp>
            <p:nvSpPr>
              <p:cNvPr id="303" name="Friform 41"/>
              <p:cNvSpPr/>
              <p:nvPr/>
            </p:nvSpPr>
            <p:spPr bwMode="auto">
              <a:xfrm>
                <a:off x="4643396" y="1329424"/>
                <a:ext cx="3194345" cy="1892826"/>
              </a:xfrm>
              <a:custGeom>
                <a:avLst/>
                <a:gdLst>
                  <a:gd name="connsiteX0" fmla="*/ 385442 w 4075846"/>
                  <a:gd name="connsiteY0" fmla="*/ 1336746 h 2415164"/>
                  <a:gd name="connsiteX1" fmla="*/ 385442 w 4075846"/>
                  <a:gd name="connsiteY1" fmla="*/ 1336746 h 2415164"/>
                  <a:gd name="connsiteX2" fmla="*/ 323936 w 4075846"/>
                  <a:gd name="connsiteY2" fmla="*/ 1361349 h 2415164"/>
                  <a:gd name="connsiteX3" fmla="*/ 254228 w 4075846"/>
                  <a:gd name="connsiteY3" fmla="*/ 1336746 h 2415164"/>
                  <a:gd name="connsiteX4" fmla="*/ 180420 w 4075846"/>
                  <a:gd name="connsiteY4" fmla="*/ 1332646 h 2415164"/>
                  <a:gd name="connsiteX5" fmla="*/ 123014 w 4075846"/>
                  <a:gd name="connsiteY5" fmla="*/ 1357248 h 2415164"/>
                  <a:gd name="connsiteX6" fmla="*/ 69708 w 4075846"/>
                  <a:gd name="connsiteY6" fmla="*/ 1336746 h 2415164"/>
                  <a:gd name="connsiteX7" fmla="*/ 69708 w 4075846"/>
                  <a:gd name="connsiteY7" fmla="*/ 1336746 h 2415164"/>
                  <a:gd name="connsiteX8" fmla="*/ 90210 w 4075846"/>
                  <a:gd name="connsiteY8" fmla="*/ 1385952 h 2415164"/>
                  <a:gd name="connsiteX9" fmla="*/ 41005 w 4075846"/>
                  <a:gd name="connsiteY9" fmla="*/ 1381851 h 2415164"/>
                  <a:gd name="connsiteX10" fmla="*/ 0 w 4075846"/>
                  <a:gd name="connsiteY10" fmla="*/ 1377751 h 2415164"/>
                  <a:gd name="connsiteX11" fmla="*/ 0 w 4075846"/>
                  <a:gd name="connsiteY11" fmla="*/ 1377751 h 2415164"/>
                  <a:gd name="connsiteX12" fmla="*/ 24603 w 4075846"/>
                  <a:gd name="connsiteY12" fmla="*/ 1422856 h 2415164"/>
                  <a:gd name="connsiteX13" fmla="*/ 24603 w 4075846"/>
                  <a:gd name="connsiteY13" fmla="*/ 1422856 h 2415164"/>
                  <a:gd name="connsiteX14" fmla="*/ 65607 w 4075846"/>
                  <a:gd name="connsiteY14" fmla="*/ 1492563 h 2415164"/>
                  <a:gd name="connsiteX15" fmla="*/ 110712 w 4075846"/>
                  <a:gd name="connsiteY15" fmla="*/ 1504865 h 2415164"/>
                  <a:gd name="connsiteX16" fmla="*/ 98411 w 4075846"/>
                  <a:gd name="connsiteY16" fmla="*/ 1476161 h 2415164"/>
                  <a:gd name="connsiteX17" fmla="*/ 168119 w 4075846"/>
                  <a:gd name="connsiteY17" fmla="*/ 1496664 h 2415164"/>
                  <a:gd name="connsiteX18" fmla="*/ 250128 w 4075846"/>
                  <a:gd name="connsiteY18" fmla="*/ 1500764 h 2415164"/>
                  <a:gd name="connsiteX19" fmla="*/ 250128 w 4075846"/>
                  <a:gd name="connsiteY19" fmla="*/ 1500764 h 2415164"/>
                  <a:gd name="connsiteX20" fmla="*/ 205023 w 4075846"/>
                  <a:gd name="connsiteY20" fmla="*/ 1603275 h 2415164"/>
                  <a:gd name="connsiteX21" fmla="*/ 172219 w 4075846"/>
                  <a:gd name="connsiteY21" fmla="*/ 1640179 h 2415164"/>
                  <a:gd name="connsiteX22" fmla="*/ 192721 w 4075846"/>
                  <a:gd name="connsiteY22" fmla="*/ 1701686 h 2415164"/>
                  <a:gd name="connsiteX23" fmla="*/ 250128 w 4075846"/>
                  <a:gd name="connsiteY23" fmla="*/ 1759092 h 2415164"/>
                  <a:gd name="connsiteX24" fmla="*/ 299333 w 4075846"/>
                  <a:gd name="connsiteY24" fmla="*/ 1841101 h 2415164"/>
                  <a:gd name="connsiteX25" fmla="*/ 332137 w 4075846"/>
                  <a:gd name="connsiteY25" fmla="*/ 1861604 h 2415164"/>
                  <a:gd name="connsiteX26" fmla="*/ 311634 w 4075846"/>
                  <a:gd name="connsiteY26" fmla="*/ 1898508 h 2415164"/>
                  <a:gd name="connsiteX27" fmla="*/ 373141 w 4075846"/>
                  <a:gd name="connsiteY27" fmla="*/ 1951813 h 2415164"/>
                  <a:gd name="connsiteX28" fmla="*/ 410045 w 4075846"/>
                  <a:gd name="connsiteY28" fmla="*/ 2013320 h 2415164"/>
                  <a:gd name="connsiteX29" fmla="*/ 426447 w 4075846"/>
                  <a:gd name="connsiteY29" fmla="*/ 2107630 h 2415164"/>
                  <a:gd name="connsiteX30" fmla="*/ 561762 w 4075846"/>
                  <a:gd name="connsiteY30" fmla="*/ 2062526 h 2415164"/>
                  <a:gd name="connsiteX31" fmla="*/ 639670 w 4075846"/>
                  <a:gd name="connsiteY31" fmla="*/ 2029722 h 2415164"/>
                  <a:gd name="connsiteX32" fmla="*/ 643771 w 4075846"/>
                  <a:gd name="connsiteY32" fmla="*/ 1984617 h 2415164"/>
                  <a:gd name="connsiteX33" fmla="*/ 738081 w 4075846"/>
                  <a:gd name="connsiteY33" fmla="*/ 1972316 h 2415164"/>
                  <a:gd name="connsiteX34" fmla="*/ 774985 w 4075846"/>
                  <a:gd name="connsiteY34" fmla="*/ 1902608 h 2415164"/>
                  <a:gd name="connsiteX35" fmla="*/ 828291 w 4075846"/>
                  <a:gd name="connsiteY35" fmla="*/ 1865704 h 2415164"/>
                  <a:gd name="connsiteX36" fmla="*/ 787286 w 4075846"/>
                  <a:gd name="connsiteY36" fmla="*/ 1824700 h 2415164"/>
                  <a:gd name="connsiteX37" fmla="*/ 738081 w 4075846"/>
                  <a:gd name="connsiteY37" fmla="*/ 1800097 h 2415164"/>
                  <a:gd name="connsiteX38" fmla="*/ 733980 w 4075846"/>
                  <a:gd name="connsiteY38" fmla="*/ 1763193 h 2415164"/>
                  <a:gd name="connsiteX39" fmla="*/ 684775 w 4075846"/>
                  <a:gd name="connsiteY39" fmla="*/ 1804197 h 2415164"/>
                  <a:gd name="connsiteX40" fmla="*/ 623268 w 4075846"/>
                  <a:gd name="connsiteY40" fmla="*/ 1812398 h 2415164"/>
                  <a:gd name="connsiteX41" fmla="*/ 582264 w 4075846"/>
                  <a:gd name="connsiteY41" fmla="*/ 1775494 h 2415164"/>
                  <a:gd name="connsiteX42" fmla="*/ 586364 w 4075846"/>
                  <a:gd name="connsiteY42" fmla="*/ 1746791 h 2415164"/>
                  <a:gd name="connsiteX43" fmla="*/ 520757 w 4075846"/>
                  <a:gd name="connsiteY43" fmla="*/ 1648380 h 2415164"/>
                  <a:gd name="connsiteX44" fmla="*/ 582264 w 4075846"/>
                  <a:gd name="connsiteY44" fmla="*/ 1656581 h 2415164"/>
                  <a:gd name="connsiteX45" fmla="*/ 639670 w 4075846"/>
                  <a:gd name="connsiteY45" fmla="*/ 1738590 h 2415164"/>
                  <a:gd name="connsiteX46" fmla="*/ 713478 w 4075846"/>
                  <a:gd name="connsiteY46" fmla="*/ 1763193 h 2415164"/>
                  <a:gd name="connsiteX47" fmla="*/ 746282 w 4075846"/>
                  <a:gd name="connsiteY47" fmla="*/ 1730389 h 2415164"/>
                  <a:gd name="connsiteX48" fmla="*/ 762684 w 4075846"/>
                  <a:gd name="connsiteY48" fmla="*/ 1771394 h 2415164"/>
                  <a:gd name="connsiteX49" fmla="*/ 930802 w 4075846"/>
                  <a:gd name="connsiteY49" fmla="*/ 1775494 h 2415164"/>
                  <a:gd name="connsiteX50" fmla="*/ 996409 w 4075846"/>
                  <a:gd name="connsiteY50" fmla="*/ 1800097 h 2415164"/>
                  <a:gd name="connsiteX51" fmla="*/ 1037414 w 4075846"/>
                  <a:gd name="connsiteY51" fmla="*/ 1841101 h 2415164"/>
                  <a:gd name="connsiteX52" fmla="*/ 1082519 w 4075846"/>
                  <a:gd name="connsiteY52" fmla="*/ 1845202 h 2415164"/>
                  <a:gd name="connsiteX53" fmla="*/ 1033313 w 4075846"/>
                  <a:gd name="connsiteY53" fmla="*/ 1869804 h 2415164"/>
                  <a:gd name="connsiteX54" fmla="*/ 1098920 w 4075846"/>
                  <a:gd name="connsiteY54" fmla="*/ 1890307 h 2415164"/>
                  <a:gd name="connsiteX55" fmla="*/ 1127624 w 4075846"/>
                  <a:gd name="connsiteY55" fmla="*/ 1853403 h 2415164"/>
                  <a:gd name="connsiteX56" fmla="*/ 1127624 w 4075846"/>
                  <a:gd name="connsiteY56" fmla="*/ 1951813 h 2415164"/>
                  <a:gd name="connsiteX57" fmla="*/ 1168628 w 4075846"/>
                  <a:gd name="connsiteY57" fmla="*/ 2037923 h 2415164"/>
                  <a:gd name="connsiteX58" fmla="*/ 1176829 w 4075846"/>
                  <a:gd name="connsiteY58" fmla="*/ 2111731 h 2415164"/>
                  <a:gd name="connsiteX59" fmla="*/ 1221934 w 4075846"/>
                  <a:gd name="connsiteY59" fmla="*/ 2160936 h 2415164"/>
                  <a:gd name="connsiteX60" fmla="*/ 1238336 w 4075846"/>
                  <a:gd name="connsiteY60" fmla="*/ 2226543 h 2415164"/>
                  <a:gd name="connsiteX61" fmla="*/ 1299842 w 4075846"/>
                  <a:gd name="connsiteY61" fmla="*/ 2148635 h 2415164"/>
                  <a:gd name="connsiteX62" fmla="*/ 1295742 w 4075846"/>
                  <a:gd name="connsiteY62" fmla="*/ 2111731 h 2415164"/>
                  <a:gd name="connsiteX63" fmla="*/ 1316244 w 4075846"/>
                  <a:gd name="connsiteY63" fmla="*/ 2074827 h 2415164"/>
                  <a:gd name="connsiteX64" fmla="*/ 1308043 w 4075846"/>
                  <a:gd name="connsiteY64" fmla="*/ 2021521 h 2415164"/>
                  <a:gd name="connsiteX65" fmla="*/ 1365450 w 4075846"/>
                  <a:gd name="connsiteY65" fmla="*/ 1992818 h 2415164"/>
                  <a:gd name="connsiteX66" fmla="*/ 1435157 w 4075846"/>
                  <a:gd name="connsiteY66" fmla="*/ 1923110 h 2415164"/>
                  <a:gd name="connsiteX67" fmla="*/ 1480262 w 4075846"/>
                  <a:gd name="connsiteY67" fmla="*/ 1894407 h 2415164"/>
                  <a:gd name="connsiteX68" fmla="*/ 1472061 w 4075846"/>
                  <a:gd name="connsiteY68" fmla="*/ 1861604 h 2415164"/>
                  <a:gd name="connsiteX69" fmla="*/ 1529467 w 4075846"/>
                  <a:gd name="connsiteY69" fmla="*/ 1873905 h 2415164"/>
                  <a:gd name="connsiteX70" fmla="*/ 1562271 w 4075846"/>
                  <a:gd name="connsiteY70" fmla="*/ 1861604 h 2415164"/>
                  <a:gd name="connsiteX71" fmla="*/ 1554070 w 4075846"/>
                  <a:gd name="connsiteY71" fmla="*/ 1824700 h 2415164"/>
                  <a:gd name="connsiteX72" fmla="*/ 1599175 w 4075846"/>
                  <a:gd name="connsiteY72" fmla="*/ 1857503 h 2415164"/>
                  <a:gd name="connsiteX73" fmla="*/ 1599175 w 4075846"/>
                  <a:gd name="connsiteY73" fmla="*/ 1902608 h 2415164"/>
                  <a:gd name="connsiteX74" fmla="*/ 1648380 w 4075846"/>
                  <a:gd name="connsiteY74" fmla="*/ 1939512 h 2415164"/>
                  <a:gd name="connsiteX75" fmla="*/ 1648380 w 4075846"/>
                  <a:gd name="connsiteY75" fmla="*/ 1939512 h 2415164"/>
                  <a:gd name="connsiteX76" fmla="*/ 1664782 w 4075846"/>
                  <a:gd name="connsiteY76" fmla="*/ 2033822 h 2415164"/>
                  <a:gd name="connsiteX77" fmla="*/ 1722189 w 4075846"/>
                  <a:gd name="connsiteY77" fmla="*/ 1992818 h 2415164"/>
                  <a:gd name="connsiteX78" fmla="*/ 1750892 w 4075846"/>
                  <a:gd name="connsiteY78" fmla="*/ 2066626 h 2415164"/>
                  <a:gd name="connsiteX79" fmla="*/ 1754992 w 4075846"/>
                  <a:gd name="connsiteY79" fmla="*/ 2165037 h 2415164"/>
                  <a:gd name="connsiteX80" fmla="*/ 1754992 w 4075846"/>
                  <a:gd name="connsiteY80" fmla="*/ 2165037 h 2415164"/>
                  <a:gd name="connsiteX81" fmla="*/ 1783695 w 4075846"/>
                  <a:gd name="connsiteY81" fmla="*/ 2238845 h 2415164"/>
                  <a:gd name="connsiteX82" fmla="*/ 1808298 w 4075846"/>
                  <a:gd name="connsiteY82" fmla="*/ 2316753 h 2415164"/>
                  <a:gd name="connsiteX83" fmla="*/ 1845202 w 4075846"/>
                  <a:gd name="connsiteY83" fmla="*/ 2374160 h 2415164"/>
                  <a:gd name="connsiteX84" fmla="*/ 1890307 w 4075846"/>
                  <a:gd name="connsiteY84" fmla="*/ 2415164 h 2415164"/>
                  <a:gd name="connsiteX85" fmla="*/ 1878006 w 4075846"/>
                  <a:gd name="connsiteY85" fmla="*/ 2365959 h 2415164"/>
                  <a:gd name="connsiteX86" fmla="*/ 1882106 w 4075846"/>
                  <a:gd name="connsiteY86" fmla="*/ 2320854 h 2415164"/>
                  <a:gd name="connsiteX87" fmla="*/ 1861604 w 4075846"/>
                  <a:gd name="connsiteY87" fmla="*/ 2267548 h 2415164"/>
                  <a:gd name="connsiteX88" fmla="*/ 1812398 w 4075846"/>
                  <a:gd name="connsiteY88" fmla="*/ 2226543 h 2415164"/>
                  <a:gd name="connsiteX89" fmla="*/ 1775494 w 4075846"/>
                  <a:gd name="connsiteY89" fmla="*/ 2160936 h 2415164"/>
                  <a:gd name="connsiteX90" fmla="*/ 1791896 w 4075846"/>
                  <a:gd name="connsiteY90" fmla="*/ 2070726 h 2415164"/>
                  <a:gd name="connsiteX91" fmla="*/ 1828800 w 4075846"/>
                  <a:gd name="connsiteY91" fmla="*/ 2099430 h 2415164"/>
                  <a:gd name="connsiteX92" fmla="*/ 1878006 w 4075846"/>
                  <a:gd name="connsiteY92" fmla="*/ 2119932 h 2415164"/>
                  <a:gd name="connsiteX93" fmla="*/ 1878006 w 4075846"/>
                  <a:gd name="connsiteY93" fmla="*/ 2119932 h 2415164"/>
                  <a:gd name="connsiteX94" fmla="*/ 1910809 w 4075846"/>
                  <a:gd name="connsiteY94" fmla="*/ 2160936 h 2415164"/>
                  <a:gd name="connsiteX95" fmla="*/ 1919010 w 4075846"/>
                  <a:gd name="connsiteY95" fmla="*/ 2197840 h 2415164"/>
                  <a:gd name="connsiteX96" fmla="*/ 1968215 w 4075846"/>
                  <a:gd name="connsiteY96" fmla="*/ 2169137 h 2415164"/>
                  <a:gd name="connsiteX97" fmla="*/ 2001019 w 4075846"/>
                  <a:gd name="connsiteY97" fmla="*/ 2124032 h 2415164"/>
                  <a:gd name="connsiteX98" fmla="*/ 2009220 w 4075846"/>
                  <a:gd name="connsiteY98" fmla="*/ 2062526 h 2415164"/>
                  <a:gd name="connsiteX99" fmla="*/ 1976416 w 4075846"/>
                  <a:gd name="connsiteY99" fmla="*/ 2013320 h 2415164"/>
                  <a:gd name="connsiteX100" fmla="*/ 1935412 w 4075846"/>
                  <a:gd name="connsiteY100" fmla="*/ 1976416 h 2415164"/>
                  <a:gd name="connsiteX101" fmla="*/ 1931311 w 4075846"/>
                  <a:gd name="connsiteY101" fmla="*/ 1935412 h 2415164"/>
                  <a:gd name="connsiteX102" fmla="*/ 1984617 w 4075846"/>
                  <a:gd name="connsiteY102" fmla="*/ 1869804 h 2415164"/>
                  <a:gd name="connsiteX103" fmla="*/ 2037923 w 4075846"/>
                  <a:gd name="connsiteY103" fmla="*/ 1869804 h 2415164"/>
                  <a:gd name="connsiteX104" fmla="*/ 2017421 w 4075846"/>
                  <a:gd name="connsiteY104" fmla="*/ 1890307 h 2415164"/>
                  <a:gd name="connsiteX105" fmla="*/ 2017421 w 4075846"/>
                  <a:gd name="connsiteY105" fmla="*/ 1890307 h 2415164"/>
                  <a:gd name="connsiteX106" fmla="*/ 2017421 w 4075846"/>
                  <a:gd name="connsiteY106" fmla="*/ 1890307 h 2415164"/>
                  <a:gd name="connsiteX107" fmla="*/ 2042024 w 4075846"/>
                  <a:gd name="connsiteY107" fmla="*/ 1923110 h 2415164"/>
                  <a:gd name="connsiteX108" fmla="*/ 2046124 w 4075846"/>
                  <a:gd name="connsiteY108" fmla="*/ 1906708 h 2415164"/>
                  <a:gd name="connsiteX109" fmla="*/ 2062526 w 4075846"/>
                  <a:gd name="connsiteY109" fmla="*/ 1878005 h 2415164"/>
                  <a:gd name="connsiteX110" fmla="*/ 2160937 w 4075846"/>
                  <a:gd name="connsiteY110" fmla="*/ 1853403 h 2415164"/>
                  <a:gd name="connsiteX111" fmla="*/ 2230644 w 4075846"/>
                  <a:gd name="connsiteY111" fmla="*/ 1812398 h 2415164"/>
                  <a:gd name="connsiteX112" fmla="*/ 2267548 w 4075846"/>
                  <a:gd name="connsiteY112" fmla="*/ 1738590 h 2415164"/>
                  <a:gd name="connsiteX113" fmla="*/ 2316754 w 4075846"/>
                  <a:gd name="connsiteY113" fmla="*/ 1705787 h 2415164"/>
                  <a:gd name="connsiteX114" fmla="*/ 2320854 w 4075846"/>
                  <a:gd name="connsiteY114" fmla="*/ 1672983 h 2415164"/>
                  <a:gd name="connsiteX115" fmla="*/ 2283950 w 4075846"/>
                  <a:gd name="connsiteY115" fmla="*/ 1652481 h 2415164"/>
                  <a:gd name="connsiteX116" fmla="*/ 2324954 w 4075846"/>
                  <a:gd name="connsiteY116" fmla="*/ 1648380 h 2415164"/>
                  <a:gd name="connsiteX117" fmla="*/ 2300352 w 4075846"/>
                  <a:gd name="connsiteY117" fmla="*/ 1603275 h 2415164"/>
                  <a:gd name="connsiteX118" fmla="*/ 2283950 w 4075846"/>
                  <a:gd name="connsiteY118" fmla="*/ 1545869 h 2415164"/>
                  <a:gd name="connsiteX119" fmla="*/ 2247046 w 4075846"/>
                  <a:gd name="connsiteY119" fmla="*/ 1513065 h 2415164"/>
                  <a:gd name="connsiteX120" fmla="*/ 2288050 w 4075846"/>
                  <a:gd name="connsiteY120" fmla="*/ 1504865 h 2415164"/>
                  <a:gd name="connsiteX121" fmla="*/ 2312653 w 4075846"/>
                  <a:gd name="connsiteY121" fmla="*/ 1472061 h 2415164"/>
                  <a:gd name="connsiteX122" fmla="*/ 2353658 w 4075846"/>
                  <a:gd name="connsiteY122" fmla="*/ 1472061 h 2415164"/>
                  <a:gd name="connsiteX123" fmla="*/ 2292151 w 4075846"/>
                  <a:gd name="connsiteY123" fmla="*/ 1447458 h 2415164"/>
                  <a:gd name="connsiteX124" fmla="*/ 2259347 w 4075846"/>
                  <a:gd name="connsiteY124" fmla="*/ 1476161 h 2415164"/>
                  <a:gd name="connsiteX125" fmla="*/ 2251146 w 4075846"/>
                  <a:gd name="connsiteY125" fmla="*/ 1439257 h 2415164"/>
                  <a:gd name="connsiteX126" fmla="*/ 2214242 w 4075846"/>
                  <a:gd name="connsiteY126" fmla="*/ 1410554 h 2415164"/>
                  <a:gd name="connsiteX127" fmla="*/ 2288050 w 4075846"/>
                  <a:gd name="connsiteY127" fmla="*/ 1373650 h 2415164"/>
                  <a:gd name="connsiteX128" fmla="*/ 2308553 w 4075846"/>
                  <a:gd name="connsiteY128" fmla="*/ 1344947 h 2415164"/>
                  <a:gd name="connsiteX129" fmla="*/ 2341356 w 4075846"/>
                  <a:gd name="connsiteY129" fmla="*/ 1377751 h 2415164"/>
                  <a:gd name="connsiteX130" fmla="*/ 2300352 w 4075846"/>
                  <a:gd name="connsiteY130" fmla="*/ 1418755 h 2415164"/>
                  <a:gd name="connsiteX131" fmla="*/ 2382361 w 4075846"/>
                  <a:gd name="connsiteY131" fmla="*/ 1390052 h 2415164"/>
                  <a:gd name="connsiteX132" fmla="*/ 2415164 w 4075846"/>
                  <a:gd name="connsiteY132" fmla="*/ 1410554 h 2415164"/>
                  <a:gd name="connsiteX133" fmla="*/ 2390562 w 4075846"/>
                  <a:gd name="connsiteY133" fmla="*/ 1443358 h 2415164"/>
                  <a:gd name="connsiteX134" fmla="*/ 2431566 w 4075846"/>
                  <a:gd name="connsiteY134" fmla="*/ 1463860 h 2415164"/>
                  <a:gd name="connsiteX135" fmla="*/ 2431566 w 4075846"/>
                  <a:gd name="connsiteY135" fmla="*/ 1463860 h 2415164"/>
                  <a:gd name="connsiteX136" fmla="*/ 2427466 w 4075846"/>
                  <a:gd name="connsiteY136" fmla="*/ 1554070 h 2415164"/>
                  <a:gd name="connsiteX137" fmla="*/ 2476671 w 4075846"/>
                  <a:gd name="connsiteY137" fmla="*/ 1521266 h 2415164"/>
                  <a:gd name="connsiteX138" fmla="*/ 2476671 w 4075846"/>
                  <a:gd name="connsiteY138" fmla="*/ 1521266 h 2415164"/>
                  <a:gd name="connsiteX139" fmla="*/ 2493073 w 4075846"/>
                  <a:gd name="connsiteY139" fmla="*/ 1472061 h 2415164"/>
                  <a:gd name="connsiteX140" fmla="*/ 2452068 w 4075846"/>
                  <a:gd name="connsiteY140" fmla="*/ 1402353 h 2415164"/>
                  <a:gd name="connsiteX141" fmla="*/ 2501274 w 4075846"/>
                  <a:gd name="connsiteY141" fmla="*/ 1369550 h 2415164"/>
                  <a:gd name="connsiteX142" fmla="*/ 2529977 w 4075846"/>
                  <a:gd name="connsiteY142" fmla="*/ 1299842 h 2415164"/>
                  <a:gd name="connsiteX143" fmla="*/ 2575082 w 4075846"/>
                  <a:gd name="connsiteY143" fmla="*/ 1283440 h 2415164"/>
                  <a:gd name="connsiteX144" fmla="*/ 2603785 w 4075846"/>
                  <a:gd name="connsiteY144" fmla="*/ 1312143 h 2415164"/>
                  <a:gd name="connsiteX145" fmla="*/ 2669392 w 4075846"/>
                  <a:gd name="connsiteY145" fmla="*/ 1258838 h 2415164"/>
                  <a:gd name="connsiteX146" fmla="*/ 2759602 w 4075846"/>
                  <a:gd name="connsiteY146" fmla="*/ 1144025 h 2415164"/>
                  <a:gd name="connsiteX147" fmla="*/ 2784205 w 4075846"/>
                  <a:gd name="connsiteY147" fmla="*/ 1111221 h 2415164"/>
                  <a:gd name="connsiteX148" fmla="*/ 2776004 w 4075846"/>
                  <a:gd name="connsiteY148" fmla="*/ 1041514 h 2415164"/>
                  <a:gd name="connsiteX149" fmla="*/ 2792406 w 4075846"/>
                  <a:gd name="connsiteY149" fmla="*/ 992308 h 2415164"/>
                  <a:gd name="connsiteX150" fmla="*/ 2755502 w 4075846"/>
                  <a:gd name="connsiteY150" fmla="*/ 934902 h 2415164"/>
                  <a:gd name="connsiteX151" fmla="*/ 2706296 w 4075846"/>
                  <a:gd name="connsiteY151" fmla="*/ 967706 h 2415164"/>
                  <a:gd name="connsiteX152" fmla="*/ 2681693 w 4075846"/>
                  <a:gd name="connsiteY152" fmla="*/ 918500 h 2415164"/>
                  <a:gd name="connsiteX153" fmla="*/ 2628388 w 4075846"/>
                  <a:gd name="connsiteY153" fmla="*/ 939003 h 2415164"/>
                  <a:gd name="connsiteX154" fmla="*/ 2718598 w 4075846"/>
                  <a:gd name="connsiteY154" fmla="*/ 881596 h 2415164"/>
                  <a:gd name="connsiteX155" fmla="*/ 2763702 w 4075846"/>
                  <a:gd name="connsiteY155" fmla="*/ 815989 h 2415164"/>
                  <a:gd name="connsiteX156" fmla="*/ 2858013 w 4075846"/>
                  <a:gd name="connsiteY156" fmla="*/ 762683 h 2415164"/>
                  <a:gd name="connsiteX157" fmla="*/ 2964624 w 4075846"/>
                  <a:gd name="connsiteY157" fmla="*/ 783186 h 2415164"/>
                  <a:gd name="connsiteX158" fmla="*/ 3009729 w 4075846"/>
                  <a:gd name="connsiteY158" fmla="*/ 750382 h 2415164"/>
                  <a:gd name="connsiteX159" fmla="*/ 3058935 w 4075846"/>
                  <a:gd name="connsiteY159" fmla="*/ 766784 h 2415164"/>
                  <a:gd name="connsiteX160" fmla="*/ 3022031 w 4075846"/>
                  <a:gd name="connsiteY160" fmla="*/ 795487 h 2415164"/>
                  <a:gd name="connsiteX161" fmla="*/ 3104040 w 4075846"/>
                  <a:gd name="connsiteY161" fmla="*/ 783186 h 2415164"/>
                  <a:gd name="connsiteX162" fmla="*/ 3104040 w 4075846"/>
                  <a:gd name="connsiteY162" fmla="*/ 742181 h 2415164"/>
                  <a:gd name="connsiteX163" fmla="*/ 3186049 w 4075846"/>
                  <a:gd name="connsiteY163" fmla="*/ 688875 h 2415164"/>
                  <a:gd name="connsiteX164" fmla="*/ 3268058 w 4075846"/>
                  <a:gd name="connsiteY164" fmla="*/ 680674 h 2415164"/>
                  <a:gd name="connsiteX165" fmla="*/ 3239354 w 4075846"/>
                  <a:gd name="connsiteY165" fmla="*/ 721679 h 2415164"/>
                  <a:gd name="connsiteX166" fmla="*/ 3309062 w 4075846"/>
                  <a:gd name="connsiteY166" fmla="*/ 688875 h 2415164"/>
                  <a:gd name="connsiteX167" fmla="*/ 3325464 w 4075846"/>
                  <a:gd name="connsiteY167" fmla="*/ 656072 h 2415164"/>
                  <a:gd name="connsiteX168" fmla="*/ 3370569 w 4075846"/>
                  <a:gd name="connsiteY168" fmla="*/ 651971 h 2415164"/>
                  <a:gd name="connsiteX169" fmla="*/ 3329564 w 4075846"/>
                  <a:gd name="connsiteY169" fmla="*/ 697076 h 2415164"/>
                  <a:gd name="connsiteX170" fmla="*/ 3296761 w 4075846"/>
                  <a:gd name="connsiteY170" fmla="*/ 742181 h 2415164"/>
                  <a:gd name="connsiteX171" fmla="*/ 3243455 w 4075846"/>
                  <a:gd name="connsiteY171" fmla="*/ 770884 h 2415164"/>
                  <a:gd name="connsiteX172" fmla="*/ 3202450 w 4075846"/>
                  <a:gd name="connsiteY172" fmla="*/ 828291 h 2415164"/>
                  <a:gd name="connsiteX173" fmla="*/ 3153245 w 4075846"/>
                  <a:gd name="connsiteY173" fmla="*/ 848793 h 2415164"/>
                  <a:gd name="connsiteX174" fmla="*/ 3120441 w 4075846"/>
                  <a:gd name="connsiteY174" fmla="*/ 926701 h 2415164"/>
                  <a:gd name="connsiteX175" fmla="*/ 3157346 w 4075846"/>
                  <a:gd name="connsiteY175" fmla="*/ 1070217 h 2415164"/>
                  <a:gd name="connsiteX176" fmla="*/ 3214752 w 4075846"/>
                  <a:gd name="connsiteY176" fmla="*/ 1004610 h 2415164"/>
                  <a:gd name="connsiteX177" fmla="*/ 3210651 w 4075846"/>
                  <a:gd name="connsiteY177" fmla="*/ 959505 h 2415164"/>
                  <a:gd name="connsiteX178" fmla="*/ 3268058 w 4075846"/>
                  <a:gd name="connsiteY178" fmla="*/ 926701 h 2415164"/>
                  <a:gd name="connsiteX179" fmla="*/ 3304962 w 4075846"/>
                  <a:gd name="connsiteY179" fmla="*/ 856994 h 2415164"/>
                  <a:gd name="connsiteX180" fmla="*/ 3300861 w 4075846"/>
                  <a:gd name="connsiteY180" fmla="*/ 803688 h 2415164"/>
                  <a:gd name="connsiteX181" fmla="*/ 3366468 w 4075846"/>
                  <a:gd name="connsiteY181" fmla="*/ 721679 h 2415164"/>
                  <a:gd name="connsiteX182" fmla="*/ 3415674 w 4075846"/>
                  <a:gd name="connsiteY182" fmla="*/ 746282 h 2415164"/>
                  <a:gd name="connsiteX183" fmla="*/ 3497683 w 4075846"/>
                  <a:gd name="connsiteY183" fmla="*/ 729880 h 2415164"/>
                  <a:gd name="connsiteX184" fmla="*/ 3563290 w 4075846"/>
                  <a:gd name="connsiteY184" fmla="*/ 725779 h 2415164"/>
                  <a:gd name="connsiteX185" fmla="*/ 3522285 w 4075846"/>
                  <a:gd name="connsiteY185" fmla="*/ 705277 h 2415164"/>
                  <a:gd name="connsiteX186" fmla="*/ 3600194 w 4075846"/>
                  <a:gd name="connsiteY186" fmla="*/ 676574 h 2415164"/>
                  <a:gd name="connsiteX187" fmla="*/ 3690404 w 4075846"/>
                  <a:gd name="connsiteY187" fmla="*/ 672474 h 2415164"/>
                  <a:gd name="connsiteX188" fmla="*/ 3731408 w 4075846"/>
                  <a:gd name="connsiteY188" fmla="*/ 651971 h 2415164"/>
                  <a:gd name="connsiteX189" fmla="*/ 3690404 w 4075846"/>
                  <a:gd name="connsiteY189" fmla="*/ 602766 h 2415164"/>
                  <a:gd name="connsiteX190" fmla="*/ 3632998 w 4075846"/>
                  <a:gd name="connsiteY190" fmla="*/ 565862 h 2415164"/>
                  <a:gd name="connsiteX191" fmla="*/ 3698605 w 4075846"/>
                  <a:gd name="connsiteY191" fmla="*/ 578163 h 2415164"/>
                  <a:gd name="connsiteX192" fmla="*/ 3751911 w 4075846"/>
                  <a:gd name="connsiteY192" fmla="*/ 561761 h 2415164"/>
                  <a:gd name="connsiteX193" fmla="*/ 3739609 w 4075846"/>
                  <a:gd name="connsiteY193" fmla="*/ 508456 h 2415164"/>
                  <a:gd name="connsiteX194" fmla="*/ 3784714 w 4075846"/>
                  <a:gd name="connsiteY194" fmla="*/ 541259 h 2415164"/>
                  <a:gd name="connsiteX195" fmla="*/ 3858522 w 4075846"/>
                  <a:gd name="connsiteY195" fmla="*/ 574063 h 2415164"/>
                  <a:gd name="connsiteX196" fmla="*/ 3903627 w 4075846"/>
                  <a:gd name="connsiteY196" fmla="*/ 606866 h 2415164"/>
                  <a:gd name="connsiteX197" fmla="*/ 3944632 w 4075846"/>
                  <a:gd name="connsiteY197" fmla="*/ 541259 h 2415164"/>
                  <a:gd name="connsiteX198" fmla="*/ 4014339 w 4075846"/>
                  <a:gd name="connsiteY198" fmla="*/ 524857 h 2415164"/>
                  <a:gd name="connsiteX199" fmla="*/ 4075846 w 4075846"/>
                  <a:gd name="connsiteY199" fmla="*/ 496154 h 2415164"/>
                  <a:gd name="connsiteX200" fmla="*/ 3993837 w 4075846"/>
                  <a:gd name="connsiteY200" fmla="*/ 487953 h 2415164"/>
                  <a:gd name="connsiteX201" fmla="*/ 3915928 w 4075846"/>
                  <a:gd name="connsiteY201" fmla="*/ 496154 h 2415164"/>
                  <a:gd name="connsiteX202" fmla="*/ 3874924 w 4075846"/>
                  <a:gd name="connsiteY202" fmla="*/ 471552 h 2415164"/>
                  <a:gd name="connsiteX203" fmla="*/ 3825719 w 4075846"/>
                  <a:gd name="connsiteY203" fmla="*/ 430547 h 2415164"/>
                  <a:gd name="connsiteX204" fmla="*/ 3727308 w 4075846"/>
                  <a:gd name="connsiteY204" fmla="*/ 397743 h 2415164"/>
                  <a:gd name="connsiteX205" fmla="*/ 3526386 w 4075846"/>
                  <a:gd name="connsiteY205" fmla="*/ 344438 h 2415164"/>
                  <a:gd name="connsiteX206" fmla="*/ 3501783 w 4075846"/>
                  <a:gd name="connsiteY206" fmla="*/ 397743 h 2415164"/>
                  <a:gd name="connsiteX207" fmla="*/ 3395172 w 4075846"/>
                  <a:gd name="connsiteY207" fmla="*/ 373141 h 2415164"/>
                  <a:gd name="connsiteX208" fmla="*/ 3235254 w 4075846"/>
                  <a:gd name="connsiteY208" fmla="*/ 364940 h 2415164"/>
                  <a:gd name="connsiteX209" fmla="*/ 3235254 w 4075846"/>
                  <a:gd name="connsiteY209" fmla="*/ 323935 h 2415164"/>
                  <a:gd name="connsiteX210" fmla="*/ 3153245 w 4075846"/>
                  <a:gd name="connsiteY210" fmla="*/ 303433 h 2415164"/>
                  <a:gd name="connsiteX211" fmla="*/ 3067136 w 4075846"/>
                  <a:gd name="connsiteY211" fmla="*/ 323935 h 2415164"/>
                  <a:gd name="connsiteX212" fmla="*/ 2964624 w 4075846"/>
                  <a:gd name="connsiteY212" fmla="*/ 291132 h 2415164"/>
                  <a:gd name="connsiteX213" fmla="*/ 3001528 w 4075846"/>
                  <a:gd name="connsiteY213" fmla="*/ 258328 h 2415164"/>
                  <a:gd name="connsiteX214" fmla="*/ 2923620 w 4075846"/>
                  <a:gd name="connsiteY214" fmla="*/ 258328 h 2415164"/>
                  <a:gd name="connsiteX215" fmla="*/ 2894917 w 4075846"/>
                  <a:gd name="connsiteY215" fmla="*/ 291132 h 2415164"/>
                  <a:gd name="connsiteX216" fmla="*/ 2890816 w 4075846"/>
                  <a:gd name="connsiteY216" fmla="*/ 246027 h 2415164"/>
                  <a:gd name="connsiteX217" fmla="*/ 2800606 w 4075846"/>
                  <a:gd name="connsiteY217" fmla="*/ 233726 h 2415164"/>
                  <a:gd name="connsiteX218" fmla="*/ 2747301 w 4075846"/>
                  <a:gd name="connsiteY218" fmla="*/ 266529 h 2415164"/>
                  <a:gd name="connsiteX219" fmla="*/ 2747301 w 4075846"/>
                  <a:gd name="connsiteY219" fmla="*/ 266529 h 2415164"/>
                  <a:gd name="connsiteX220" fmla="*/ 2718598 w 4075846"/>
                  <a:gd name="connsiteY220" fmla="*/ 303433 h 2415164"/>
                  <a:gd name="connsiteX221" fmla="*/ 2665292 w 4075846"/>
                  <a:gd name="connsiteY221" fmla="*/ 303433 h 2415164"/>
                  <a:gd name="connsiteX222" fmla="*/ 2620187 w 4075846"/>
                  <a:gd name="connsiteY222" fmla="*/ 319835 h 2415164"/>
                  <a:gd name="connsiteX223" fmla="*/ 2570981 w 4075846"/>
                  <a:gd name="connsiteY223" fmla="*/ 270630 h 2415164"/>
                  <a:gd name="connsiteX224" fmla="*/ 2534077 w 4075846"/>
                  <a:gd name="connsiteY224" fmla="*/ 319835 h 2415164"/>
                  <a:gd name="connsiteX225" fmla="*/ 2452068 w 4075846"/>
                  <a:gd name="connsiteY225" fmla="*/ 254228 h 2415164"/>
                  <a:gd name="connsiteX226" fmla="*/ 2505374 w 4075846"/>
                  <a:gd name="connsiteY226" fmla="*/ 258328 h 2415164"/>
                  <a:gd name="connsiteX227" fmla="*/ 2484872 w 4075846"/>
                  <a:gd name="connsiteY227" fmla="*/ 221424 h 2415164"/>
                  <a:gd name="connsiteX228" fmla="*/ 2431566 w 4075846"/>
                  <a:gd name="connsiteY228" fmla="*/ 200922 h 2415164"/>
                  <a:gd name="connsiteX229" fmla="*/ 2370059 w 4075846"/>
                  <a:gd name="connsiteY229" fmla="*/ 176319 h 2415164"/>
                  <a:gd name="connsiteX230" fmla="*/ 2357758 w 4075846"/>
                  <a:gd name="connsiteY230" fmla="*/ 225525 h 2415164"/>
                  <a:gd name="connsiteX231" fmla="*/ 2296251 w 4075846"/>
                  <a:gd name="connsiteY231" fmla="*/ 221424 h 2415164"/>
                  <a:gd name="connsiteX232" fmla="*/ 2238845 w 4075846"/>
                  <a:gd name="connsiteY232" fmla="*/ 209123 h 2415164"/>
                  <a:gd name="connsiteX233" fmla="*/ 2271649 w 4075846"/>
                  <a:gd name="connsiteY233" fmla="*/ 188621 h 2415164"/>
                  <a:gd name="connsiteX234" fmla="*/ 2152736 w 4075846"/>
                  <a:gd name="connsiteY234" fmla="*/ 196821 h 2415164"/>
                  <a:gd name="connsiteX235" fmla="*/ 2111731 w 4075846"/>
                  <a:gd name="connsiteY235" fmla="*/ 164018 h 2415164"/>
                  <a:gd name="connsiteX236" fmla="*/ 2087128 w 4075846"/>
                  <a:gd name="connsiteY236" fmla="*/ 196821 h 2415164"/>
                  <a:gd name="connsiteX237" fmla="*/ 2013320 w 4075846"/>
                  <a:gd name="connsiteY237" fmla="*/ 209123 h 2415164"/>
                  <a:gd name="connsiteX238" fmla="*/ 1902608 w 4075846"/>
                  <a:gd name="connsiteY238" fmla="*/ 237826 h 2415164"/>
                  <a:gd name="connsiteX239" fmla="*/ 1972316 w 4075846"/>
                  <a:gd name="connsiteY239" fmla="*/ 184520 h 2415164"/>
                  <a:gd name="connsiteX240" fmla="*/ 2050224 w 4075846"/>
                  <a:gd name="connsiteY240" fmla="*/ 151717 h 2415164"/>
                  <a:gd name="connsiteX241" fmla="*/ 2132233 w 4075846"/>
                  <a:gd name="connsiteY241" fmla="*/ 110712 h 2415164"/>
                  <a:gd name="connsiteX242" fmla="*/ 2083028 w 4075846"/>
                  <a:gd name="connsiteY242" fmla="*/ 94310 h 2415164"/>
                  <a:gd name="connsiteX243" fmla="*/ 2132233 w 4075846"/>
                  <a:gd name="connsiteY243" fmla="*/ 82009 h 2415164"/>
                  <a:gd name="connsiteX244" fmla="*/ 2087128 w 4075846"/>
                  <a:gd name="connsiteY244" fmla="*/ 49205 h 2415164"/>
                  <a:gd name="connsiteX245" fmla="*/ 1951814 w 4075846"/>
                  <a:gd name="connsiteY245" fmla="*/ 53306 h 2415164"/>
                  <a:gd name="connsiteX246" fmla="*/ 1984617 w 4075846"/>
                  <a:gd name="connsiteY246" fmla="*/ 28703 h 2415164"/>
                  <a:gd name="connsiteX247" fmla="*/ 1898508 w 4075846"/>
                  <a:gd name="connsiteY247" fmla="*/ 32804 h 2415164"/>
                  <a:gd name="connsiteX248" fmla="*/ 1951814 w 4075846"/>
                  <a:gd name="connsiteY248" fmla="*/ 4100 h 2415164"/>
                  <a:gd name="connsiteX249" fmla="*/ 1886206 w 4075846"/>
                  <a:gd name="connsiteY249" fmla="*/ 0 h 2415164"/>
                  <a:gd name="connsiteX250" fmla="*/ 1824700 w 4075846"/>
                  <a:gd name="connsiteY250" fmla="*/ 24603 h 2415164"/>
                  <a:gd name="connsiteX251" fmla="*/ 1828800 w 4075846"/>
                  <a:gd name="connsiteY251" fmla="*/ 57406 h 2415164"/>
                  <a:gd name="connsiteX252" fmla="*/ 1767293 w 4075846"/>
                  <a:gd name="connsiteY252" fmla="*/ 57406 h 2415164"/>
                  <a:gd name="connsiteX253" fmla="*/ 1804198 w 4075846"/>
                  <a:gd name="connsiteY253" fmla="*/ 90210 h 2415164"/>
                  <a:gd name="connsiteX254" fmla="*/ 1746791 w 4075846"/>
                  <a:gd name="connsiteY254" fmla="*/ 77908 h 2415164"/>
                  <a:gd name="connsiteX255" fmla="*/ 1672983 w 4075846"/>
                  <a:gd name="connsiteY255" fmla="*/ 94310 h 2415164"/>
                  <a:gd name="connsiteX256" fmla="*/ 1508965 w 4075846"/>
                  <a:gd name="connsiteY256" fmla="*/ 110712 h 2415164"/>
                  <a:gd name="connsiteX257" fmla="*/ 1443358 w 4075846"/>
                  <a:gd name="connsiteY257" fmla="*/ 164018 h 2415164"/>
                  <a:gd name="connsiteX258" fmla="*/ 1496664 w 4075846"/>
                  <a:gd name="connsiteY258" fmla="*/ 180420 h 2415164"/>
                  <a:gd name="connsiteX259" fmla="*/ 1324445 w 4075846"/>
                  <a:gd name="connsiteY259" fmla="*/ 192721 h 2415164"/>
                  <a:gd name="connsiteX260" fmla="*/ 1291641 w 4075846"/>
                  <a:gd name="connsiteY260" fmla="*/ 221424 h 2415164"/>
                  <a:gd name="connsiteX261" fmla="*/ 1336746 w 4075846"/>
                  <a:gd name="connsiteY261" fmla="*/ 237826 h 2415164"/>
                  <a:gd name="connsiteX262" fmla="*/ 1381851 w 4075846"/>
                  <a:gd name="connsiteY262" fmla="*/ 258328 h 2415164"/>
                  <a:gd name="connsiteX263" fmla="*/ 1385952 w 4075846"/>
                  <a:gd name="connsiteY263" fmla="*/ 287031 h 2415164"/>
                  <a:gd name="connsiteX264" fmla="*/ 1349048 w 4075846"/>
                  <a:gd name="connsiteY264" fmla="*/ 282931 h 2415164"/>
                  <a:gd name="connsiteX265" fmla="*/ 1295742 w 4075846"/>
                  <a:gd name="connsiteY265" fmla="*/ 254228 h 2415164"/>
                  <a:gd name="connsiteX266" fmla="*/ 1246537 w 4075846"/>
                  <a:gd name="connsiteY266" fmla="*/ 258328 h 2415164"/>
                  <a:gd name="connsiteX267" fmla="*/ 1217833 w 4075846"/>
                  <a:gd name="connsiteY267" fmla="*/ 282931 h 2415164"/>
                  <a:gd name="connsiteX268" fmla="*/ 1303943 w 4075846"/>
                  <a:gd name="connsiteY268" fmla="*/ 319835 h 2415164"/>
                  <a:gd name="connsiteX269" fmla="*/ 1242436 w 4075846"/>
                  <a:gd name="connsiteY269" fmla="*/ 303433 h 2415164"/>
                  <a:gd name="connsiteX270" fmla="*/ 1185030 w 4075846"/>
                  <a:gd name="connsiteY270" fmla="*/ 311634 h 2415164"/>
                  <a:gd name="connsiteX271" fmla="*/ 1197331 w 4075846"/>
                  <a:gd name="connsiteY271" fmla="*/ 258328 h 2415164"/>
                  <a:gd name="connsiteX272" fmla="*/ 1197331 w 4075846"/>
                  <a:gd name="connsiteY272" fmla="*/ 258328 h 2415164"/>
                  <a:gd name="connsiteX273" fmla="*/ 1197331 w 4075846"/>
                  <a:gd name="connsiteY273" fmla="*/ 258328 h 2415164"/>
                  <a:gd name="connsiteX274" fmla="*/ 1144025 w 4075846"/>
                  <a:gd name="connsiteY274" fmla="*/ 307534 h 2415164"/>
                  <a:gd name="connsiteX275" fmla="*/ 1185030 w 4075846"/>
                  <a:gd name="connsiteY275" fmla="*/ 348538 h 2415164"/>
                  <a:gd name="connsiteX276" fmla="*/ 1160427 w 4075846"/>
                  <a:gd name="connsiteY276" fmla="*/ 377241 h 2415164"/>
                  <a:gd name="connsiteX277" fmla="*/ 1250637 w 4075846"/>
                  <a:gd name="connsiteY277" fmla="*/ 385442 h 2415164"/>
                  <a:gd name="connsiteX278" fmla="*/ 1267039 w 4075846"/>
                  <a:gd name="connsiteY278" fmla="*/ 422346 h 2415164"/>
                  <a:gd name="connsiteX279" fmla="*/ 1254737 w 4075846"/>
                  <a:gd name="connsiteY279" fmla="*/ 451049 h 2415164"/>
                  <a:gd name="connsiteX280" fmla="*/ 1295742 w 4075846"/>
                  <a:gd name="connsiteY280" fmla="*/ 471552 h 2415164"/>
                  <a:gd name="connsiteX281" fmla="*/ 1234235 w 4075846"/>
                  <a:gd name="connsiteY281" fmla="*/ 459250 h 2415164"/>
                  <a:gd name="connsiteX282" fmla="*/ 1226034 w 4075846"/>
                  <a:gd name="connsiteY282" fmla="*/ 410045 h 2415164"/>
                  <a:gd name="connsiteX283" fmla="*/ 1226034 w 4075846"/>
                  <a:gd name="connsiteY283" fmla="*/ 410045 h 2415164"/>
                  <a:gd name="connsiteX284" fmla="*/ 1172728 w 4075846"/>
                  <a:gd name="connsiteY284" fmla="*/ 430547 h 2415164"/>
                  <a:gd name="connsiteX285" fmla="*/ 1176829 w 4075846"/>
                  <a:gd name="connsiteY285" fmla="*/ 467451 h 2415164"/>
                  <a:gd name="connsiteX286" fmla="*/ 1127624 w 4075846"/>
                  <a:gd name="connsiteY286" fmla="*/ 512556 h 2415164"/>
                  <a:gd name="connsiteX287" fmla="*/ 1041514 w 4075846"/>
                  <a:gd name="connsiteY287" fmla="*/ 475652 h 2415164"/>
                  <a:gd name="connsiteX288" fmla="*/ 1115322 w 4075846"/>
                  <a:gd name="connsiteY288" fmla="*/ 459250 h 2415164"/>
                  <a:gd name="connsiteX289" fmla="*/ 1139925 w 4075846"/>
                  <a:gd name="connsiteY289" fmla="*/ 414145 h 2415164"/>
                  <a:gd name="connsiteX290" fmla="*/ 1111222 w 4075846"/>
                  <a:gd name="connsiteY290" fmla="*/ 385442 h 2415164"/>
                  <a:gd name="connsiteX291" fmla="*/ 1127624 w 4075846"/>
                  <a:gd name="connsiteY291" fmla="*/ 323935 h 2415164"/>
                  <a:gd name="connsiteX292" fmla="*/ 1107121 w 4075846"/>
                  <a:gd name="connsiteY292" fmla="*/ 295232 h 2415164"/>
                  <a:gd name="connsiteX293" fmla="*/ 1135824 w 4075846"/>
                  <a:gd name="connsiteY293" fmla="*/ 254228 h 2415164"/>
                  <a:gd name="connsiteX294" fmla="*/ 1127624 w 4075846"/>
                  <a:gd name="connsiteY294" fmla="*/ 233726 h 2415164"/>
                  <a:gd name="connsiteX295" fmla="*/ 1062016 w 4075846"/>
                  <a:gd name="connsiteY295" fmla="*/ 225525 h 2415164"/>
                  <a:gd name="connsiteX296" fmla="*/ 1016911 w 4075846"/>
                  <a:gd name="connsiteY296" fmla="*/ 287031 h 2415164"/>
                  <a:gd name="connsiteX297" fmla="*/ 988208 w 4075846"/>
                  <a:gd name="connsiteY297" fmla="*/ 319835 h 2415164"/>
                  <a:gd name="connsiteX298" fmla="*/ 1008711 w 4075846"/>
                  <a:gd name="connsiteY298" fmla="*/ 377241 h 2415164"/>
                  <a:gd name="connsiteX299" fmla="*/ 1062016 w 4075846"/>
                  <a:gd name="connsiteY299" fmla="*/ 397743 h 2415164"/>
                  <a:gd name="connsiteX300" fmla="*/ 1029213 w 4075846"/>
                  <a:gd name="connsiteY300" fmla="*/ 430547 h 2415164"/>
                  <a:gd name="connsiteX301" fmla="*/ 910300 w 4075846"/>
                  <a:gd name="connsiteY301" fmla="*/ 373141 h 2415164"/>
                  <a:gd name="connsiteX302" fmla="*/ 811889 w 4075846"/>
                  <a:gd name="connsiteY302" fmla="*/ 352639 h 2415164"/>
                  <a:gd name="connsiteX303" fmla="*/ 811889 w 4075846"/>
                  <a:gd name="connsiteY303" fmla="*/ 352639 h 2415164"/>
                  <a:gd name="connsiteX304" fmla="*/ 779085 w 4075846"/>
                  <a:gd name="connsiteY304" fmla="*/ 381342 h 2415164"/>
                  <a:gd name="connsiteX305" fmla="*/ 840592 w 4075846"/>
                  <a:gd name="connsiteY305" fmla="*/ 381342 h 2415164"/>
                  <a:gd name="connsiteX306" fmla="*/ 856994 w 4075846"/>
                  <a:gd name="connsiteY306" fmla="*/ 410045 h 2415164"/>
                  <a:gd name="connsiteX307" fmla="*/ 815989 w 4075846"/>
                  <a:gd name="connsiteY307" fmla="*/ 430547 h 2415164"/>
                  <a:gd name="connsiteX308" fmla="*/ 799588 w 4075846"/>
                  <a:gd name="connsiteY308" fmla="*/ 397743 h 2415164"/>
                  <a:gd name="connsiteX309" fmla="*/ 766784 w 4075846"/>
                  <a:gd name="connsiteY309" fmla="*/ 418246 h 2415164"/>
                  <a:gd name="connsiteX310" fmla="*/ 701177 w 4075846"/>
                  <a:gd name="connsiteY310" fmla="*/ 438748 h 2415164"/>
                  <a:gd name="connsiteX311" fmla="*/ 639670 w 4075846"/>
                  <a:gd name="connsiteY311" fmla="*/ 446949 h 2415164"/>
                  <a:gd name="connsiteX312" fmla="*/ 680675 w 4075846"/>
                  <a:gd name="connsiteY312" fmla="*/ 401844 h 2415164"/>
                  <a:gd name="connsiteX313" fmla="*/ 635570 w 4075846"/>
                  <a:gd name="connsiteY313" fmla="*/ 410045 h 2415164"/>
                  <a:gd name="connsiteX314" fmla="*/ 545360 w 4075846"/>
                  <a:gd name="connsiteY314" fmla="*/ 455150 h 2415164"/>
                  <a:gd name="connsiteX315" fmla="*/ 524858 w 4075846"/>
                  <a:gd name="connsiteY315" fmla="*/ 500255 h 2415164"/>
                  <a:gd name="connsiteX316" fmla="*/ 479753 w 4075846"/>
                  <a:gd name="connsiteY316" fmla="*/ 475652 h 2415164"/>
                  <a:gd name="connsiteX317" fmla="*/ 451050 w 4075846"/>
                  <a:gd name="connsiteY317" fmla="*/ 451049 h 2415164"/>
                  <a:gd name="connsiteX318" fmla="*/ 496154 w 4075846"/>
                  <a:gd name="connsiteY318" fmla="*/ 451049 h 2415164"/>
                  <a:gd name="connsiteX319" fmla="*/ 446949 w 4075846"/>
                  <a:gd name="connsiteY319" fmla="*/ 414145 h 2415164"/>
                  <a:gd name="connsiteX320" fmla="*/ 393643 w 4075846"/>
                  <a:gd name="connsiteY320" fmla="*/ 422346 h 2415164"/>
                  <a:gd name="connsiteX321" fmla="*/ 430547 w 4075846"/>
                  <a:gd name="connsiteY321" fmla="*/ 459250 h 2415164"/>
                  <a:gd name="connsiteX322" fmla="*/ 430547 w 4075846"/>
                  <a:gd name="connsiteY322" fmla="*/ 459250 h 2415164"/>
                  <a:gd name="connsiteX323" fmla="*/ 422346 w 4075846"/>
                  <a:gd name="connsiteY323" fmla="*/ 524857 h 2415164"/>
                  <a:gd name="connsiteX324" fmla="*/ 385442 w 4075846"/>
                  <a:gd name="connsiteY324" fmla="*/ 520757 h 2415164"/>
                  <a:gd name="connsiteX325" fmla="*/ 344438 w 4075846"/>
                  <a:gd name="connsiteY325" fmla="*/ 553561 h 2415164"/>
                  <a:gd name="connsiteX326" fmla="*/ 369041 w 4075846"/>
                  <a:gd name="connsiteY326" fmla="*/ 586364 h 2415164"/>
                  <a:gd name="connsiteX327" fmla="*/ 336237 w 4075846"/>
                  <a:gd name="connsiteY327" fmla="*/ 594565 h 2415164"/>
                  <a:gd name="connsiteX328" fmla="*/ 270630 w 4075846"/>
                  <a:gd name="connsiteY328" fmla="*/ 561761 h 2415164"/>
                  <a:gd name="connsiteX329" fmla="*/ 295233 w 4075846"/>
                  <a:gd name="connsiteY329" fmla="*/ 606866 h 2415164"/>
                  <a:gd name="connsiteX330" fmla="*/ 241927 w 4075846"/>
                  <a:gd name="connsiteY330" fmla="*/ 594565 h 2415164"/>
                  <a:gd name="connsiteX331" fmla="*/ 241927 w 4075846"/>
                  <a:gd name="connsiteY331" fmla="*/ 594565 h 2415164"/>
                  <a:gd name="connsiteX332" fmla="*/ 188621 w 4075846"/>
                  <a:gd name="connsiteY332" fmla="*/ 643770 h 2415164"/>
                  <a:gd name="connsiteX333" fmla="*/ 139415 w 4075846"/>
                  <a:gd name="connsiteY333" fmla="*/ 680674 h 2415164"/>
                  <a:gd name="connsiteX334" fmla="*/ 168119 w 4075846"/>
                  <a:gd name="connsiteY334" fmla="*/ 742181 h 2415164"/>
                  <a:gd name="connsiteX335" fmla="*/ 123014 w 4075846"/>
                  <a:gd name="connsiteY335" fmla="*/ 787286 h 2415164"/>
                  <a:gd name="connsiteX336" fmla="*/ 135315 w 4075846"/>
                  <a:gd name="connsiteY336" fmla="*/ 889797 h 2415164"/>
                  <a:gd name="connsiteX337" fmla="*/ 53306 w 4075846"/>
                  <a:gd name="connsiteY337" fmla="*/ 1000509 h 2415164"/>
                  <a:gd name="connsiteX338" fmla="*/ 94311 w 4075846"/>
                  <a:gd name="connsiteY338" fmla="*/ 1135824 h 2415164"/>
                  <a:gd name="connsiteX339" fmla="*/ 90210 w 4075846"/>
                  <a:gd name="connsiteY339" fmla="*/ 1213733 h 2415164"/>
                  <a:gd name="connsiteX340" fmla="*/ 143516 w 4075846"/>
                  <a:gd name="connsiteY340" fmla="*/ 1197331 h 2415164"/>
                  <a:gd name="connsiteX341" fmla="*/ 159918 w 4075846"/>
                  <a:gd name="connsiteY341" fmla="*/ 1213733 h 2415164"/>
                  <a:gd name="connsiteX342" fmla="*/ 159918 w 4075846"/>
                  <a:gd name="connsiteY342" fmla="*/ 1213733 h 2415164"/>
                  <a:gd name="connsiteX343" fmla="*/ 168119 w 4075846"/>
                  <a:gd name="connsiteY343" fmla="*/ 1262938 h 2415164"/>
                  <a:gd name="connsiteX344" fmla="*/ 246027 w 4075846"/>
                  <a:gd name="connsiteY344" fmla="*/ 1242436 h 2415164"/>
                  <a:gd name="connsiteX345" fmla="*/ 192721 w 4075846"/>
                  <a:gd name="connsiteY345" fmla="*/ 1226034 h 2415164"/>
                  <a:gd name="connsiteX346" fmla="*/ 180420 w 4075846"/>
                  <a:gd name="connsiteY346" fmla="*/ 1197331 h 2415164"/>
                  <a:gd name="connsiteX347" fmla="*/ 217324 w 4075846"/>
                  <a:gd name="connsiteY347" fmla="*/ 1205532 h 2415164"/>
                  <a:gd name="connsiteX348" fmla="*/ 241927 w 4075846"/>
                  <a:gd name="connsiteY348" fmla="*/ 1168628 h 2415164"/>
                  <a:gd name="connsiteX349" fmla="*/ 307534 w 4075846"/>
                  <a:gd name="connsiteY349" fmla="*/ 1205532 h 2415164"/>
                  <a:gd name="connsiteX350" fmla="*/ 266529 w 4075846"/>
                  <a:gd name="connsiteY350" fmla="*/ 1246536 h 2415164"/>
                  <a:gd name="connsiteX351" fmla="*/ 340337 w 4075846"/>
                  <a:gd name="connsiteY351" fmla="*/ 1279340 h 2415164"/>
                  <a:gd name="connsiteX352" fmla="*/ 385442 w 4075846"/>
                  <a:gd name="connsiteY352" fmla="*/ 1336746 h 24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Lst>
                <a:rect l="l" t="t" r="r" b="b"/>
                <a:pathLst>
                  <a:path w="4075846" h="2415164">
                    <a:moveTo>
                      <a:pt x="385442" y="1336746"/>
                    </a:moveTo>
                    <a:lnTo>
                      <a:pt x="385442" y="1336746"/>
                    </a:lnTo>
                    <a:lnTo>
                      <a:pt x="323936" y="1361349"/>
                    </a:lnTo>
                    <a:lnTo>
                      <a:pt x="254228" y="1336746"/>
                    </a:lnTo>
                    <a:lnTo>
                      <a:pt x="180420" y="1332646"/>
                    </a:lnTo>
                    <a:lnTo>
                      <a:pt x="123014" y="1357248"/>
                    </a:lnTo>
                    <a:lnTo>
                      <a:pt x="69708" y="1336746"/>
                    </a:lnTo>
                    <a:lnTo>
                      <a:pt x="69708" y="1336746"/>
                    </a:lnTo>
                    <a:lnTo>
                      <a:pt x="90210" y="1385952"/>
                    </a:lnTo>
                    <a:lnTo>
                      <a:pt x="41005" y="1381851"/>
                    </a:lnTo>
                    <a:lnTo>
                      <a:pt x="0" y="1377751"/>
                    </a:lnTo>
                    <a:lnTo>
                      <a:pt x="0" y="1377751"/>
                    </a:lnTo>
                    <a:lnTo>
                      <a:pt x="24603" y="1422856"/>
                    </a:lnTo>
                    <a:lnTo>
                      <a:pt x="24603" y="1422856"/>
                    </a:lnTo>
                    <a:lnTo>
                      <a:pt x="65607" y="1492563"/>
                    </a:lnTo>
                    <a:lnTo>
                      <a:pt x="110712" y="1504865"/>
                    </a:lnTo>
                    <a:lnTo>
                      <a:pt x="98411" y="1476161"/>
                    </a:lnTo>
                    <a:lnTo>
                      <a:pt x="168119" y="1496664"/>
                    </a:lnTo>
                    <a:lnTo>
                      <a:pt x="250128" y="1500764"/>
                    </a:lnTo>
                    <a:lnTo>
                      <a:pt x="250128" y="1500764"/>
                    </a:lnTo>
                    <a:lnTo>
                      <a:pt x="205023" y="1603275"/>
                    </a:lnTo>
                    <a:lnTo>
                      <a:pt x="172219" y="1640179"/>
                    </a:lnTo>
                    <a:lnTo>
                      <a:pt x="192721" y="1701686"/>
                    </a:lnTo>
                    <a:lnTo>
                      <a:pt x="250128" y="1759092"/>
                    </a:lnTo>
                    <a:lnTo>
                      <a:pt x="299333" y="1841101"/>
                    </a:lnTo>
                    <a:lnTo>
                      <a:pt x="332137" y="1861604"/>
                    </a:lnTo>
                    <a:lnTo>
                      <a:pt x="311634" y="1898508"/>
                    </a:lnTo>
                    <a:lnTo>
                      <a:pt x="373141" y="1951813"/>
                    </a:lnTo>
                    <a:lnTo>
                      <a:pt x="410045" y="2013320"/>
                    </a:lnTo>
                    <a:lnTo>
                      <a:pt x="426447" y="2107630"/>
                    </a:lnTo>
                    <a:lnTo>
                      <a:pt x="561762" y="2062526"/>
                    </a:lnTo>
                    <a:lnTo>
                      <a:pt x="639670" y="2029722"/>
                    </a:lnTo>
                    <a:lnTo>
                      <a:pt x="643771" y="1984617"/>
                    </a:lnTo>
                    <a:lnTo>
                      <a:pt x="738081" y="1972316"/>
                    </a:lnTo>
                    <a:lnTo>
                      <a:pt x="774985" y="1902608"/>
                    </a:lnTo>
                    <a:lnTo>
                      <a:pt x="828291" y="1865704"/>
                    </a:lnTo>
                    <a:lnTo>
                      <a:pt x="787286" y="1824700"/>
                    </a:lnTo>
                    <a:lnTo>
                      <a:pt x="738081" y="1800097"/>
                    </a:lnTo>
                    <a:lnTo>
                      <a:pt x="733980" y="1763193"/>
                    </a:lnTo>
                    <a:lnTo>
                      <a:pt x="684775" y="1804197"/>
                    </a:lnTo>
                    <a:lnTo>
                      <a:pt x="623268" y="1812398"/>
                    </a:lnTo>
                    <a:lnTo>
                      <a:pt x="582264" y="1775494"/>
                    </a:lnTo>
                    <a:lnTo>
                      <a:pt x="586364" y="1746791"/>
                    </a:lnTo>
                    <a:lnTo>
                      <a:pt x="520757" y="1648380"/>
                    </a:lnTo>
                    <a:lnTo>
                      <a:pt x="582264" y="1656581"/>
                    </a:lnTo>
                    <a:lnTo>
                      <a:pt x="639670" y="1738590"/>
                    </a:lnTo>
                    <a:lnTo>
                      <a:pt x="713478" y="1763193"/>
                    </a:lnTo>
                    <a:lnTo>
                      <a:pt x="746282" y="1730389"/>
                    </a:lnTo>
                    <a:lnTo>
                      <a:pt x="762684" y="1771394"/>
                    </a:lnTo>
                    <a:lnTo>
                      <a:pt x="930802" y="1775494"/>
                    </a:lnTo>
                    <a:lnTo>
                      <a:pt x="996409" y="1800097"/>
                    </a:lnTo>
                    <a:lnTo>
                      <a:pt x="1037414" y="1841101"/>
                    </a:lnTo>
                    <a:lnTo>
                      <a:pt x="1082519" y="1845202"/>
                    </a:lnTo>
                    <a:lnTo>
                      <a:pt x="1033313" y="1869804"/>
                    </a:lnTo>
                    <a:lnTo>
                      <a:pt x="1098920" y="1890307"/>
                    </a:lnTo>
                    <a:lnTo>
                      <a:pt x="1127624" y="1853403"/>
                    </a:lnTo>
                    <a:lnTo>
                      <a:pt x="1127624" y="1951813"/>
                    </a:lnTo>
                    <a:lnTo>
                      <a:pt x="1168628" y="2037923"/>
                    </a:lnTo>
                    <a:lnTo>
                      <a:pt x="1176829" y="2111731"/>
                    </a:lnTo>
                    <a:lnTo>
                      <a:pt x="1221934" y="2160936"/>
                    </a:lnTo>
                    <a:lnTo>
                      <a:pt x="1238336" y="2226543"/>
                    </a:lnTo>
                    <a:lnTo>
                      <a:pt x="1299842" y="2148635"/>
                    </a:lnTo>
                    <a:lnTo>
                      <a:pt x="1295742" y="2111731"/>
                    </a:lnTo>
                    <a:lnTo>
                      <a:pt x="1316244" y="2074827"/>
                    </a:lnTo>
                    <a:lnTo>
                      <a:pt x="1308043" y="2021521"/>
                    </a:lnTo>
                    <a:lnTo>
                      <a:pt x="1365450" y="1992818"/>
                    </a:lnTo>
                    <a:lnTo>
                      <a:pt x="1435157" y="1923110"/>
                    </a:lnTo>
                    <a:lnTo>
                      <a:pt x="1480262" y="1894407"/>
                    </a:lnTo>
                    <a:lnTo>
                      <a:pt x="1472061" y="1861604"/>
                    </a:lnTo>
                    <a:lnTo>
                      <a:pt x="1529467" y="1873905"/>
                    </a:lnTo>
                    <a:lnTo>
                      <a:pt x="1562271" y="1861604"/>
                    </a:lnTo>
                    <a:lnTo>
                      <a:pt x="1554070" y="1824700"/>
                    </a:lnTo>
                    <a:lnTo>
                      <a:pt x="1599175" y="1857503"/>
                    </a:lnTo>
                    <a:lnTo>
                      <a:pt x="1599175" y="1902608"/>
                    </a:lnTo>
                    <a:lnTo>
                      <a:pt x="1648380" y="1939512"/>
                    </a:lnTo>
                    <a:lnTo>
                      <a:pt x="1648380" y="1939512"/>
                    </a:lnTo>
                    <a:lnTo>
                      <a:pt x="1664782" y="2033822"/>
                    </a:lnTo>
                    <a:lnTo>
                      <a:pt x="1722189" y="1992818"/>
                    </a:lnTo>
                    <a:lnTo>
                      <a:pt x="1750892" y="2066626"/>
                    </a:lnTo>
                    <a:lnTo>
                      <a:pt x="1754992" y="2165037"/>
                    </a:lnTo>
                    <a:lnTo>
                      <a:pt x="1754992" y="2165037"/>
                    </a:lnTo>
                    <a:lnTo>
                      <a:pt x="1783695" y="2238845"/>
                    </a:lnTo>
                    <a:lnTo>
                      <a:pt x="1808298" y="2316753"/>
                    </a:lnTo>
                    <a:lnTo>
                      <a:pt x="1845202" y="2374160"/>
                    </a:lnTo>
                    <a:lnTo>
                      <a:pt x="1890307" y="2415164"/>
                    </a:lnTo>
                    <a:lnTo>
                      <a:pt x="1878006" y="2365959"/>
                    </a:lnTo>
                    <a:lnTo>
                      <a:pt x="1882106" y="2320854"/>
                    </a:lnTo>
                    <a:lnTo>
                      <a:pt x="1861604" y="2267548"/>
                    </a:lnTo>
                    <a:lnTo>
                      <a:pt x="1812398" y="2226543"/>
                    </a:lnTo>
                    <a:lnTo>
                      <a:pt x="1775494" y="2160936"/>
                    </a:lnTo>
                    <a:lnTo>
                      <a:pt x="1791896" y="2070726"/>
                    </a:lnTo>
                    <a:lnTo>
                      <a:pt x="1828800" y="2099430"/>
                    </a:lnTo>
                    <a:lnTo>
                      <a:pt x="1878006" y="2119932"/>
                    </a:lnTo>
                    <a:lnTo>
                      <a:pt x="1878006" y="2119932"/>
                    </a:lnTo>
                    <a:lnTo>
                      <a:pt x="1910809" y="2160936"/>
                    </a:lnTo>
                    <a:lnTo>
                      <a:pt x="1919010" y="2197840"/>
                    </a:lnTo>
                    <a:lnTo>
                      <a:pt x="1968215" y="2169137"/>
                    </a:lnTo>
                    <a:lnTo>
                      <a:pt x="2001019" y="2124032"/>
                    </a:lnTo>
                    <a:lnTo>
                      <a:pt x="2009220" y="2062526"/>
                    </a:lnTo>
                    <a:lnTo>
                      <a:pt x="1976416" y="2013320"/>
                    </a:lnTo>
                    <a:lnTo>
                      <a:pt x="1935412" y="1976416"/>
                    </a:lnTo>
                    <a:lnTo>
                      <a:pt x="1931311" y="1935412"/>
                    </a:lnTo>
                    <a:lnTo>
                      <a:pt x="1984617" y="1869804"/>
                    </a:lnTo>
                    <a:lnTo>
                      <a:pt x="2037923" y="1869804"/>
                    </a:lnTo>
                    <a:lnTo>
                      <a:pt x="2017421" y="1890307"/>
                    </a:lnTo>
                    <a:lnTo>
                      <a:pt x="2017421" y="1890307"/>
                    </a:lnTo>
                    <a:lnTo>
                      <a:pt x="2017421" y="1890307"/>
                    </a:lnTo>
                    <a:lnTo>
                      <a:pt x="2042024" y="1923110"/>
                    </a:lnTo>
                    <a:lnTo>
                      <a:pt x="2046124" y="1906708"/>
                    </a:lnTo>
                    <a:lnTo>
                      <a:pt x="2062526" y="1878005"/>
                    </a:lnTo>
                    <a:lnTo>
                      <a:pt x="2160937" y="1853403"/>
                    </a:lnTo>
                    <a:lnTo>
                      <a:pt x="2230644" y="1812398"/>
                    </a:lnTo>
                    <a:lnTo>
                      <a:pt x="2267548" y="1738590"/>
                    </a:lnTo>
                    <a:lnTo>
                      <a:pt x="2316754" y="1705787"/>
                    </a:lnTo>
                    <a:lnTo>
                      <a:pt x="2320854" y="1672983"/>
                    </a:lnTo>
                    <a:lnTo>
                      <a:pt x="2283950" y="1652481"/>
                    </a:lnTo>
                    <a:lnTo>
                      <a:pt x="2324954" y="1648380"/>
                    </a:lnTo>
                    <a:lnTo>
                      <a:pt x="2300352" y="1603275"/>
                    </a:lnTo>
                    <a:lnTo>
                      <a:pt x="2283950" y="1545869"/>
                    </a:lnTo>
                    <a:lnTo>
                      <a:pt x="2247046" y="1513065"/>
                    </a:lnTo>
                    <a:lnTo>
                      <a:pt x="2288050" y="1504865"/>
                    </a:lnTo>
                    <a:lnTo>
                      <a:pt x="2312653" y="1472061"/>
                    </a:lnTo>
                    <a:lnTo>
                      <a:pt x="2353658" y="1472061"/>
                    </a:lnTo>
                    <a:lnTo>
                      <a:pt x="2292151" y="1447458"/>
                    </a:lnTo>
                    <a:lnTo>
                      <a:pt x="2259347" y="1476161"/>
                    </a:lnTo>
                    <a:lnTo>
                      <a:pt x="2251146" y="1439257"/>
                    </a:lnTo>
                    <a:lnTo>
                      <a:pt x="2214242" y="1410554"/>
                    </a:lnTo>
                    <a:lnTo>
                      <a:pt x="2288050" y="1373650"/>
                    </a:lnTo>
                    <a:lnTo>
                      <a:pt x="2308553" y="1344947"/>
                    </a:lnTo>
                    <a:lnTo>
                      <a:pt x="2341356" y="1377751"/>
                    </a:lnTo>
                    <a:lnTo>
                      <a:pt x="2300352" y="1418755"/>
                    </a:lnTo>
                    <a:lnTo>
                      <a:pt x="2382361" y="1390052"/>
                    </a:lnTo>
                    <a:lnTo>
                      <a:pt x="2415164" y="1410554"/>
                    </a:lnTo>
                    <a:lnTo>
                      <a:pt x="2390562" y="1443358"/>
                    </a:lnTo>
                    <a:lnTo>
                      <a:pt x="2431566" y="1463860"/>
                    </a:lnTo>
                    <a:lnTo>
                      <a:pt x="2431566" y="1463860"/>
                    </a:lnTo>
                    <a:lnTo>
                      <a:pt x="2427466" y="1554070"/>
                    </a:lnTo>
                    <a:lnTo>
                      <a:pt x="2476671" y="1521266"/>
                    </a:lnTo>
                    <a:lnTo>
                      <a:pt x="2476671" y="1521266"/>
                    </a:lnTo>
                    <a:lnTo>
                      <a:pt x="2493073" y="1472061"/>
                    </a:lnTo>
                    <a:lnTo>
                      <a:pt x="2452068" y="1402353"/>
                    </a:lnTo>
                    <a:lnTo>
                      <a:pt x="2501274" y="1369550"/>
                    </a:lnTo>
                    <a:lnTo>
                      <a:pt x="2529977" y="1299842"/>
                    </a:lnTo>
                    <a:lnTo>
                      <a:pt x="2575082" y="1283440"/>
                    </a:lnTo>
                    <a:lnTo>
                      <a:pt x="2603785" y="1312143"/>
                    </a:lnTo>
                    <a:lnTo>
                      <a:pt x="2669392" y="1258838"/>
                    </a:lnTo>
                    <a:lnTo>
                      <a:pt x="2759602" y="1144025"/>
                    </a:lnTo>
                    <a:lnTo>
                      <a:pt x="2784205" y="1111221"/>
                    </a:lnTo>
                    <a:lnTo>
                      <a:pt x="2776004" y="1041514"/>
                    </a:lnTo>
                    <a:lnTo>
                      <a:pt x="2792406" y="992308"/>
                    </a:lnTo>
                    <a:lnTo>
                      <a:pt x="2755502" y="934902"/>
                    </a:lnTo>
                    <a:lnTo>
                      <a:pt x="2706296" y="967706"/>
                    </a:lnTo>
                    <a:lnTo>
                      <a:pt x="2681693" y="918500"/>
                    </a:lnTo>
                    <a:lnTo>
                      <a:pt x="2628388" y="939003"/>
                    </a:lnTo>
                    <a:lnTo>
                      <a:pt x="2718598" y="881596"/>
                    </a:lnTo>
                    <a:lnTo>
                      <a:pt x="2763702" y="815989"/>
                    </a:lnTo>
                    <a:lnTo>
                      <a:pt x="2858013" y="762683"/>
                    </a:lnTo>
                    <a:lnTo>
                      <a:pt x="2964624" y="783186"/>
                    </a:lnTo>
                    <a:lnTo>
                      <a:pt x="3009729" y="750382"/>
                    </a:lnTo>
                    <a:lnTo>
                      <a:pt x="3058935" y="766784"/>
                    </a:lnTo>
                    <a:lnTo>
                      <a:pt x="3022031" y="795487"/>
                    </a:lnTo>
                    <a:lnTo>
                      <a:pt x="3104040" y="783186"/>
                    </a:lnTo>
                    <a:lnTo>
                      <a:pt x="3104040" y="742181"/>
                    </a:lnTo>
                    <a:lnTo>
                      <a:pt x="3186049" y="688875"/>
                    </a:lnTo>
                    <a:lnTo>
                      <a:pt x="3268058" y="680674"/>
                    </a:lnTo>
                    <a:lnTo>
                      <a:pt x="3239354" y="721679"/>
                    </a:lnTo>
                    <a:lnTo>
                      <a:pt x="3309062" y="688875"/>
                    </a:lnTo>
                    <a:lnTo>
                      <a:pt x="3325464" y="656072"/>
                    </a:lnTo>
                    <a:lnTo>
                      <a:pt x="3370569" y="651971"/>
                    </a:lnTo>
                    <a:lnTo>
                      <a:pt x="3329564" y="697076"/>
                    </a:lnTo>
                    <a:lnTo>
                      <a:pt x="3296761" y="742181"/>
                    </a:lnTo>
                    <a:lnTo>
                      <a:pt x="3243455" y="770884"/>
                    </a:lnTo>
                    <a:lnTo>
                      <a:pt x="3202450" y="828291"/>
                    </a:lnTo>
                    <a:lnTo>
                      <a:pt x="3153245" y="848793"/>
                    </a:lnTo>
                    <a:lnTo>
                      <a:pt x="3120441" y="926701"/>
                    </a:lnTo>
                    <a:lnTo>
                      <a:pt x="3157346" y="1070217"/>
                    </a:lnTo>
                    <a:lnTo>
                      <a:pt x="3214752" y="1004610"/>
                    </a:lnTo>
                    <a:lnTo>
                      <a:pt x="3210651" y="959505"/>
                    </a:lnTo>
                    <a:lnTo>
                      <a:pt x="3268058" y="926701"/>
                    </a:lnTo>
                    <a:lnTo>
                      <a:pt x="3304962" y="856994"/>
                    </a:lnTo>
                    <a:lnTo>
                      <a:pt x="3300861" y="803688"/>
                    </a:lnTo>
                    <a:lnTo>
                      <a:pt x="3366468" y="721679"/>
                    </a:lnTo>
                    <a:lnTo>
                      <a:pt x="3415674" y="746282"/>
                    </a:lnTo>
                    <a:lnTo>
                      <a:pt x="3497683" y="729880"/>
                    </a:lnTo>
                    <a:lnTo>
                      <a:pt x="3563290" y="725779"/>
                    </a:lnTo>
                    <a:lnTo>
                      <a:pt x="3522285" y="705277"/>
                    </a:lnTo>
                    <a:lnTo>
                      <a:pt x="3600194" y="676574"/>
                    </a:lnTo>
                    <a:lnTo>
                      <a:pt x="3690404" y="672474"/>
                    </a:lnTo>
                    <a:lnTo>
                      <a:pt x="3731408" y="651971"/>
                    </a:lnTo>
                    <a:lnTo>
                      <a:pt x="3690404" y="602766"/>
                    </a:lnTo>
                    <a:lnTo>
                      <a:pt x="3632998" y="565862"/>
                    </a:lnTo>
                    <a:lnTo>
                      <a:pt x="3698605" y="578163"/>
                    </a:lnTo>
                    <a:lnTo>
                      <a:pt x="3751911" y="561761"/>
                    </a:lnTo>
                    <a:lnTo>
                      <a:pt x="3739609" y="508456"/>
                    </a:lnTo>
                    <a:lnTo>
                      <a:pt x="3784714" y="541259"/>
                    </a:lnTo>
                    <a:lnTo>
                      <a:pt x="3858522" y="574063"/>
                    </a:lnTo>
                    <a:lnTo>
                      <a:pt x="3903627" y="606866"/>
                    </a:lnTo>
                    <a:lnTo>
                      <a:pt x="3944632" y="541259"/>
                    </a:lnTo>
                    <a:lnTo>
                      <a:pt x="4014339" y="524857"/>
                    </a:lnTo>
                    <a:lnTo>
                      <a:pt x="4075846" y="496154"/>
                    </a:lnTo>
                    <a:lnTo>
                      <a:pt x="3993837" y="487953"/>
                    </a:lnTo>
                    <a:lnTo>
                      <a:pt x="3915928" y="496154"/>
                    </a:lnTo>
                    <a:lnTo>
                      <a:pt x="3874924" y="471552"/>
                    </a:lnTo>
                    <a:lnTo>
                      <a:pt x="3825719" y="430547"/>
                    </a:lnTo>
                    <a:lnTo>
                      <a:pt x="3727308" y="397743"/>
                    </a:lnTo>
                    <a:lnTo>
                      <a:pt x="3526386" y="344438"/>
                    </a:lnTo>
                    <a:lnTo>
                      <a:pt x="3501783" y="397743"/>
                    </a:lnTo>
                    <a:lnTo>
                      <a:pt x="3395172" y="373141"/>
                    </a:lnTo>
                    <a:lnTo>
                      <a:pt x="3235254" y="364940"/>
                    </a:lnTo>
                    <a:lnTo>
                      <a:pt x="3235254" y="323935"/>
                    </a:lnTo>
                    <a:lnTo>
                      <a:pt x="3153245" y="303433"/>
                    </a:lnTo>
                    <a:lnTo>
                      <a:pt x="3067136" y="323935"/>
                    </a:lnTo>
                    <a:lnTo>
                      <a:pt x="2964624" y="291132"/>
                    </a:lnTo>
                    <a:lnTo>
                      <a:pt x="3001528" y="258328"/>
                    </a:lnTo>
                    <a:lnTo>
                      <a:pt x="2923620" y="258328"/>
                    </a:lnTo>
                    <a:lnTo>
                      <a:pt x="2894917" y="291132"/>
                    </a:lnTo>
                    <a:lnTo>
                      <a:pt x="2890816" y="246027"/>
                    </a:lnTo>
                    <a:lnTo>
                      <a:pt x="2800606" y="233726"/>
                    </a:lnTo>
                    <a:lnTo>
                      <a:pt x="2747301" y="266529"/>
                    </a:lnTo>
                    <a:lnTo>
                      <a:pt x="2747301" y="266529"/>
                    </a:lnTo>
                    <a:lnTo>
                      <a:pt x="2718598" y="303433"/>
                    </a:lnTo>
                    <a:lnTo>
                      <a:pt x="2665292" y="303433"/>
                    </a:lnTo>
                    <a:lnTo>
                      <a:pt x="2620187" y="319835"/>
                    </a:lnTo>
                    <a:lnTo>
                      <a:pt x="2570981" y="270630"/>
                    </a:lnTo>
                    <a:lnTo>
                      <a:pt x="2534077" y="319835"/>
                    </a:lnTo>
                    <a:lnTo>
                      <a:pt x="2452068" y="254228"/>
                    </a:lnTo>
                    <a:lnTo>
                      <a:pt x="2505374" y="258328"/>
                    </a:lnTo>
                    <a:lnTo>
                      <a:pt x="2484872" y="221424"/>
                    </a:lnTo>
                    <a:lnTo>
                      <a:pt x="2431566" y="200922"/>
                    </a:lnTo>
                    <a:lnTo>
                      <a:pt x="2370059" y="176319"/>
                    </a:lnTo>
                    <a:lnTo>
                      <a:pt x="2357758" y="225525"/>
                    </a:lnTo>
                    <a:lnTo>
                      <a:pt x="2296251" y="221424"/>
                    </a:lnTo>
                    <a:lnTo>
                      <a:pt x="2238845" y="209123"/>
                    </a:lnTo>
                    <a:lnTo>
                      <a:pt x="2271649" y="188621"/>
                    </a:lnTo>
                    <a:lnTo>
                      <a:pt x="2152736" y="196821"/>
                    </a:lnTo>
                    <a:lnTo>
                      <a:pt x="2111731" y="164018"/>
                    </a:lnTo>
                    <a:lnTo>
                      <a:pt x="2087128" y="196821"/>
                    </a:lnTo>
                    <a:lnTo>
                      <a:pt x="2013320" y="209123"/>
                    </a:lnTo>
                    <a:lnTo>
                      <a:pt x="1902608" y="237826"/>
                    </a:lnTo>
                    <a:lnTo>
                      <a:pt x="1972316" y="184520"/>
                    </a:lnTo>
                    <a:lnTo>
                      <a:pt x="2050224" y="151717"/>
                    </a:lnTo>
                    <a:lnTo>
                      <a:pt x="2132233" y="110712"/>
                    </a:lnTo>
                    <a:lnTo>
                      <a:pt x="2083028" y="94310"/>
                    </a:lnTo>
                    <a:lnTo>
                      <a:pt x="2132233" y="82009"/>
                    </a:lnTo>
                    <a:lnTo>
                      <a:pt x="2087128" y="49205"/>
                    </a:lnTo>
                    <a:lnTo>
                      <a:pt x="1951814" y="53306"/>
                    </a:lnTo>
                    <a:lnTo>
                      <a:pt x="1984617" y="28703"/>
                    </a:lnTo>
                    <a:lnTo>
                      <a:pt x="1898508" y="32804"/>
                    </a:lnTo>
                    <a:lnTo>
                      <a:pt x="1951814" y="4100"/>
                    </a:lnTo>
                    <a:lnTo>
                      <a:pt x="1886206" y="0"/>
                    </a:lnTo>
                    <a:lnTo>
                      <a:pt x="1824700" y="24603"/>
                    </a:lnTo>
                    <a:lnTo>
                      <a:pt x="1828800" y="57406"/>
                    </a:lnTo>
                    <a:lnTo>
                      <a:pt x="1767293" y="57406"/>
                    </a:lnTo>
                    <a:lnTo>
                      <a:pt x="1804198" y="90210"/>
                    </a:lnTo>
                    <a:lnTo>
                      <a:pt x="1746791" y="77908"/>
                    </a:lnTo>
                    <a:lnTo>
                      <a:pt x="1672983" y="94310"/>
                    </a:lnTo>
                    <a:lnTo>
                      <a:pt x="1508965" y="110712"/>
                    </a:lnTo>
                    <a:lnTo>
                      <a:pt x="1443358" y="164018"/>
                    </a:lnTo>
                    <a:lnTo>
                      <a:pt x="1496664" y="180420"/>
                    </a:lnTo>
                    <a:lnTo>
                      <a:pt x="1324445" y="192721"/>
                    </a:lnTo>
                    <a:lnTo>
                      <a:pt x="1291641" y="221424"/>
                    </a:lnTo>
                    <a:lnTo>
                      <a:pt x="1336746" y="237826"/>
                    </a:lnTo>
                    <a:lnTo>
                      <a:pt x="1381851" y="258328"/>
                    </a:lnTo>
                    <a:lnTo>
                      <a:pt x="1385952" y="287031"/>
                    </a:lnTo>
                    <a:lnTo>
                      <a:pt x="1349048" y="282931"/>
                    </a:lnTo>
                    <a:lnTo>
                      <a:pt x="1295742" y="254228"/>
                    </a:lnTo>
                    <a:lnTo>
                      <a:pt x="1246537" y="258328"/>
                    </a:lnTo>
                    <a:lnTo>
                      <a:pt x="1217833" y="282931"/>
                    </a:lnTo>
                    <a:lnTo>
                      <a:pt x="1303943" y="319835"/>
                    </a:lnTo>
                    <a:lnTo>
                      <a:pt x="1242436" y="303433"/>
                    </a:lnTo>
                    <a:lnTo>
                      <a:pt x="1185030" y="311634"/>
                    </a:lnTo>
                    <a:lnTo>
                      <a:pt x="1197331" y="258328"/>
                    </a:lnTo>
                    <a:lnTo>
                      <a:pt x="1197331" y="258328"/>
                    </a:lnTo>
                    <a:lnTo>
                      <a:pt x="1197331" y="258328"/>
                    </a:lnTo>
                    <a:lnTo>
                      <a:pt x="1144025" y="307534"/>
                    </a:lnTo>
                    <a:lnTo>
                      <a:pt x="1185030" y="348538"/>
                    </a:lnTo>
                    <a:lnTo>
                      <a:pt x="1160427" y="377241"/>
                    </a:lnTo>
                    <a:lnTo>
                      <a:pt x="1250637" y="385442"/>
                    </a:lnTo>
                    <a:lnTo>
                      <a:pt x="1267039" y="422346"/>
                    </a:lnTo>
                    <a:lnTo>
                      <a:pt x="1254737" y="451049"/>
                    </a:lnTo>
                    <a:lnTo>
                      <a:pt x="1295742" y="471552"/>
                    </a:lnTo>
                    <a:lnTo>
                      <a:pt x="1234235" y="459250"/>
                    </a:lnTo>
                    <a:lnTo>
                      <a:pt x="1226034" y="410045"/>
                    </a:lnTo>
                    <a:lnTo>
                      <a:pt x="1226034" y="410045"/>
                    </a:lnTo>
                    <a:lnTo>
                      <a:pt x="1172728" y="430547"/>
                    </a:lnTo>
                    <a:lnTo>
                      <a:pt x="1176829" y="467451"/>
                    </a:lnTo>
                    <a:lnTo>
                      <a:pt x="1127624" y="512556"/>
                    </a:lnTo>
                    <a:lnTo>
                      <a:pt x="1041514" y="475652"/>
                    </a:lnTo>
                    <a:lnTo>
                      <a:pt x="1115322" y="459250"/>
                    </a:lnTo>
                    <a:lnTo>
                      <a:pt x="1139925" y="414145"/>
                    </a:lnTo>
                    <a:lnTo>
                      <a:pt x="1111222" y="385442"/>
                    </a:lnTo>
                    <a:lnTo>
                      <a:pt x="1127624" y="323935"/>
                    </a:lnTo>
                    <a:lnTo>
                      <a:pt x="1107121" y="295232"/>
                    </a:lnTo>
                    <a:lnTo>
                      <a:pt x="1135824" y="254228"/>
                    </a:lnTo>
                    <a:lnTo>
                      <a:pt x="1127624" y="233726"/>
                    </a:lnTo>
                    <a:lnTo>
                      <a:pt x="1062016" y="225525"/>
                    </a:lnTo>
                    <a:lnTo>
                      <a:pt x="1016911" y="287031"/>
                    </a:lnTo>
                    <a:lnTo>
                      <a:pt x="988208" y="319835"/>
                    </a:lnTo>
                    <a:lnTo>
                      <a:pt x="1008711" y="377241"/>
                    </a:lnTo>
                    <a:lnTo>
                      <a:pt x="1062016" y="397743"/>
                    </a:lnTo>
                    <a:lnTo>
                      <a:pt x="1029213" y="430547"/>
                    </a:lnTo>
                    <a:lnTo>
                      <a:pt x="910300" y="373141"/>
                    </a:lnTo>
                    <a:lnTo>
                      <a:pt x="811889" y="352639"/>
                    </a:lnTo>
                    <a:lnTo>
                      <a:pt x="811889" y="352639"/>
                    </a:lnTo>
                    <a:lnTo>
                      <a:pt x="779085" y="381342"/>
                    </a:lnTo>
                    <a:lnTo>
                      <a:pt x="840592" y="381342"/>
                    </a:lnTo>
                    <a:lnTo>
                      <a:pt x="856994" y="410045"/>
                    </a:lnTo>
                    <a:lnTo>
                      <a:pt x="815989" y="430547"/>
                    </a:lnTo>
                    <a:lnTo>
                      <a:pt x="799588" y="397743"/>
                    </a:lnTo>
                    <a:lnTo>
                      <a:pt x="766784" y="418246"/>
                    </a:lnTo>
                    <a:lnTo>
                      <a:pt x="701177" y="438748"/>
                    </a:lnTo>
                    <a:lnTo>
                      <a:pt x="639670" y="446949"/>
                    </a:lnTo>
                    <a:lnTo>
                      <a:pt x="680675" y="401844"/>
                    </a:lnTo>
                    <a:lnTo>
                      <a:pt x="635570" y="410045"/>
                    </a:lnTo>
                    <a:lnTo>
                      <a:pt x="545360" y="455150"/>
                    </a:lnTo>
                    <a:lnTo>
                      <a:pt x="524858" y="500255"/>
                    </a:lnTo>
                    <a:lnTo>
                      <a:pt x="479753" y="475652"/>
                    </a:lnTo>
                    <a:lnTo>
                      <a:pt x="451050" y="451049"/>
                    </a:lnTo>
                    <a:lnTo>
                      <a:pt x="496154" y="451049"/>
                    </a:lnTo>
                    <a:lnTo>
                      <a:pt x="446949" y="414145"/>
                    </a:lnTo>
                    <a:lnTo>
                      <a:pt x="393643" y="422346"/>
                    </a:lnTo>
                    <a:lnTo>
                      <a:pt x="430547" y="459250"/>
                    </a:lnTo>
                    <a:lnTo>
                      <a:pt x="430547" y="459250"/>
                    </a:lnTo>
                    <a:lnTo>
                      <a:pt x="422346" y="524857"/>
                    </a:lnTo>
                    <a:lnTo>
                      <a:pt x="385442" y="520757"/>
                    </a:lnTo>
                    <a:lnTo>
                      <a:pt x="344438" y="553561"/>
                    </a:lnTo>
                    <a:lnTo>
                      <a:pt x="369041" y="586364"/>
                    </a:lnTo>
                    <a:lnTo>
                      <a:pt x="336237" y="594565"/>
                    </a:lnTo>
                    <a:lnTo>
                      <a:pt x="270630" y="561761"/>
                    </a:lnTo>
                    <a:lnTo>
                      <a:pt x="295233" y="606866"/>
                    </a:lnTo>
                    <a:lnTo>
                      <a:pt x="241927" y="594565"/>
                    </a:lnTo>
                    <a:lnTo>
                      <a:pt x="241927" y="594565"/>
                    </a:lnTo>
                    <a:lnTo>
                      <a:pt x="188621" y="643770"/>
                    </a:lnTo>
                    <a:lnTo>
                      <a:pt x="139415" y="680674"/>
                    </a:lnTo>
                    <a:lnTo>
                      <a:pt x="168119" y="742181"/>
                    </a:lnTo>
                    <a:lnTo>
                      <a:pt x="123014" y="787286"/>
                    </a:lnTo>
                    <a:lnTo>
                      <a:pt x="135315" y="889797"/>
                    </a:lnTo>
                    <a:lnTo>
                      <a:pt x="53306" y="1000509"/>
                    </a:lnTo>
                    <a:lnTo>
                      <a:pt x="94311" y="1135824"/>
                    </a:lnTo>
                    <a:lnTo>
                      <a:pt x="90210" y="1213733"/>
                    </a:lnTo>
                    <a:lnTo>
                      <a:pt x="143516" y="1197331"/>
                    </a:lnTo>
                    <a:lnTo>
                      <a:pt x="159918" y="1213733"/>
                    </a:lnTo>
                    <a:lnTo>
                      <a:pt x="159918" y="1213733"/>
                    </a:lnTo>
                    <a:lnTo>
                      <a:pt x="168119" y="1262938"/>
                    </a:lnTo>
                    <a:lnTo>
                      <a:pt x="246027" y="1242436"/>
                    </a:lnTo>
                    <a:lnTo>
                      <a:pt x="192721" y="1226034"/>
                    </a:lnTo>
                    <a:lnTo>
                      <a:pt x="180420" y="1197331"/>
                    </a:lnTo>
                    <a:lnTo>
                      <a:pt x="217324" y="1205532"/>
                    </a:lnTo>
                    <a:lnTo>
                      <a:pt x="241927" y="1168628"/>
                    </a:lnTo>
                    <a:lnTo>
                      <a:pt x="307534" y="1205532"/>
                    </a:lnTo>
                    <a:lnTo>
                      <a:pt x="266529" y="1246536"/>
                    </a:lnTo>
                    <a:lnTo>
                      <a:pt x="340337" y="1279340"/>
                    </a:lnTo>
                    <a:lnTo>
                      <a:pt x="385442" y="1336746"/>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04" name="Friform 42"/>
              <p:cNvSpPr/>
              <p:nvPr/>
            </p:nvSpPr>
            <p:spPr bwMode="auto">
              <a:xfrm>
                <a:off x="4682719" y="1608344"/>
                <a:ext cx="255523" cy="281955"/>
              </a:xfrm>
              <a:custGeom>
                <a:avLst/>
                <a:gdLst>
                  <a:gd name="connsiteX0" fmla="*/ 86193 w 326036"/>
                  <a:gd name="connsiteY0" fmla="*/ 119921 h 359763"/>
                  <a:gd name="connsiteX1" fmla="*/ 138659 w 326036"/>
                  <a:gd name="connsiteY1" fmla="*/ 153649 h 359763"/>
                  <a:gd name="connsiteX2" fmla="*/ 202367 w 326036"/>
                  <a:gd name="connsiteY2" fmla="*/ 153649 h 359763"/>
                  <a:gd name="connsiteX3" fmla="*/ 262328 w 326036"/>
                  <a:gd name="connsiteY3" fmla="*/ 161144 h 359763"/>
                  <a:gd name="connsiteX4" fmla="*/ 326036 w 326036"/>
                  <a:gd name="connsiteY4" fmla="*/ 131163 h 359763"/>
                  <a:gd name="connsiteX5" fmla="*/ 307298 w 326036"/>
                  <a:gd name="connsiteY5" fmla="*/ 104931 h 359763"/>
                  <a:gd name="connsiteX6" fmla="*/ 258580 w 326036"/>
                  <a:gd name="connsiteY6" fmla="*/ 93688 h 359763"/>
                  <a:gd name="connsiteX7" fmla="*/ 209862 w 326036"/>
                  <a:gd name="connsiteY7" fmla="*/ 56213 h 359763"/>
                  <a:gd name="connsiteX8" fmla="*/ 119921 w 326036"/>
                  <a:gd name="connsiteY8" fmla="*/ 37475 h 359763"/>
                  <a:gd name="connsiteX9" fmla="*/ 67456 w 326036"/>
                  <a:gd name="connsiteY9" fmla="*/ 14990 h 359763"/>
                  <a:gd name="connsiteX10" fmla="*/ 101183 w 326036"/>
                  <a:gd name="connsiteY10" fmla="*/ 0 h 359763"/>
                  <a:gd name="connsiteX11" fmla="*/ 44970 w 326036"/>
                  <a:gd name="connsiteY11" fmla="*/ 11242 h 359763"/>
                  <a:gd name="connsiteX12" fmla="*/ 0 w 326036"/>
                  <a:gd name="connsiteY12" fmla="*/ 52465 h 359763"/>
                  <a:gd name="connsiteX13" fmla="*/ 22485 w 326036"/>
                  <a:gd name="connsiteY13" fmla="*/ 108678 h 359763"/>
                  <a:gd name="connsiteX14" fmla="*/ 3747 w 326036"/>
                  <a:gd name="connsiteY14" fmla="*/ 149901 h 359763"/>
                  <a:gd name="connsiteX15" fmla="*/ 44970 w 326036"/>
                  <a:gd name="connsiteY15" fmla="*/ 217357 h 359763"/>
                  <a:gd name="connsiteX16" fmla="*/ 14990 w 326036"/>
                  <a:gd name="connsiteY16" fmla="*/ 254832 h 359763"/>
                  <a:gd name="connsiteX17" fmla="*/ 63708 w 326036"/>
                  <a:gd name="connsiteY17" fmla="*/ 299803 h 359763"/>
                  <a:gd name="connsiteX18" fmla="*/ 37475 w 326036"/>
                  <a:gd name="connsiteY18" fmla="*/ 333531 h 359763"/>
                  <a:gd name="connsiteX19" fmla="*/ 127416 w 326036"/>
                  <a:gd name="connsiteY19" fmla="*/ 359763 h 359763"/>
                  <a:gd name="connsiteX20" fmla="*/ 273570 w 326036"/>
                  <a:gd name="connsiteY20" fmla="*/ 314793 h 359763"/>
                  <a:gd name="connsiteX21" fmla="*/ 194872 w 326036"/>
                  <a:gd name="connsiteY21" fmla="*/ 247337 h 359763"/>
                  <a:gd name="connsiteX22" fmla="*/ 149902 w 326036"/>
                  <a:gd name="connsiteY22" fmla="*/ 224852 h 359763"/>
                  <a:gd name="connsiteX23" fmla="*/ 164892 w 326036"/>
                  <a:gd name="connsiteY23" fmla="*/ 183629 h 359763"/>
                  <a:gd name="connsiteX24" fmla="*/ 127416 w 326036"/>
                  <a:gd name="connsiteY24" fmla="*/ 168639 h 359763"/>
                  <a:gd name="connsiteX25" fmla="*/ 86193 w 326036"/>
                  <a:gd name="connsiteY25" fmla="*/ 119921 h 359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6036" h="359763">
                    <a:moveTo>
                      <a:pt x="86193" y="119921"/>
                    </a:moveTo>
                    <a:lnTo>
                      <a:pt x="138659" y="153649"/>
                    </a:lnTo>
                    <a:lnTo>
                      <a:pt x="202367" y="153649"/>
                    </a:lnTo>
                    <a:lnTo>
                      <a:pt x="262328" y="161144"/>
                    </a:lnTo>
                    <a:lnTo>
                      <a:pt x="326036" y="131163"/>
                    </a:lnTo>
                    <a:lnTo>
                      <a:pt x="307298" y="104931"/>
                    </a:lnTo>
                    <a:lnTo>
                      <a:pt x="258580" y="93688"/>
                    </a:lnTo>
                    <a:lnTo>
                      <a:pt x="209862" y="56213"/>
                    </a:lnTo>
                    <a:lnTo>
                      <a:pt x="119921" y="37475"/>
                    </a:lnTo>
                    <a:lnTo>
                      <a:pt x="67456" y="14990"/>
                    </a:lnTo>
                    <a:lnTo>
                      <a:pt x="101183" y="0"/>
                    </a:lnTo>
                    <a:lnTo>
                      <a:pt x="44970" y="11242"/>
                    </a:lnTo>
                    <a:lnTo>
                      <a:pt x="0" y="52465"/>
                    </a:lnTo>
                    <a:lnTo>
                      <a:pt x="22485" y="108678"/>
                    </a:lnTo>
                    <a:lnTo>
                      <a:pt x="3747" y="149901"/>
                    </a:lnTo>
                    <a:lnTo>
                      <a:pt x="44970" y="217357"/>
                    </a:lnTo>
                    <a:lnTo>
                      <a:pt x="14990" y="254832"/>
                    </a:lnTo>
                    <a:lnTo>
                      <a:pt x="63708" y="299803"/>
                    </a:lnTo>
                    <a:lnTo>
                      <a:pt x="37475" y="333531"/>
                    </a:lnTo>
                    <a:lnTo>
                      <a:pt x="127416" y="359763"/>
                    </a:lnTo>
                    <a:lnTo>
                      <a:pt x="273570" y="314793"/>
                    </a:lnTo>
                    <a:lnTo>
                      <a:pt x="194872" y="247337"/>
                    </a:lnTo>
                    <a:lnTo>
                      <a:pt x="149902" y="224852"/>
                    </a:lnTo>
                    <a:lnTo>
                      <a:pt x="164892" y="183629"/>
                    </a:lnTo>
                    <a:lnTo>
                      <a:pt x="127416" y="168639"/>
                    </a:lnTo>
                    <a:lnTo>
                      <a:pt x="86193" y="119921"/>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05" name="Friform 43"/>
              <p:cNvSpPr/>
              <p:nvPr/>
            </p:nvSpPr>
            <p:spPr bwMode="auto">
              <a:xfrm>
                <a:off x="5951522" y="3112111"/>
                <a:ext cx="208530" cy="226152"/>
              </a:xfrm>
              <a:custGeom>
                <a:avLst/>
                <a:gdLst>
                  <a:gd name="connsiteX0" fmla="*/ 0 w 266075"/>
                  <a:gd name="connsiteY0" fmla="*/ 0 h 288560"/>
                  <a:gd name="connsiteX1" fmla="*/ 74950 w 266075"/>
                  <a:gd name="connsiteY1" fmla="*/ 26232 h 288560"/>
                  <a:gd name="connsiteX2" fmla="*/ 74950 w 266075"/>
                  <a:gd name="connsiteY2" fmla="*/ 26232 h 288560"/>
                  <a:gd name="connsiteX3" fmla="*/ 131164 w 266075"/>
                  <a:gd name="connsiteY3" fmla="*/ 93688 h 288560"/>
                  <a:gd name="connsiteX4" fmla="*/ 138659 w 266075"/>
                  <a:gd name="connsiteY4" fmla="*/ 134911 h 288560"/>
                  <a:gd name="connsiteX5" fmla="*/ 213609 w 266075"/>
                  <a:gd name="connsiteY5" fmla="*/ 172386 h 288560"/>
                  <a:gd name="connsiteX6" fmla="*/ 232347 w 266075"/>
                  <a:gd name="connsiteY6" fmla="*/ 209862 h 288560"/>
                  <a:gd name="connsiteX7" fmla="*/ 266075 w 266075"/>
                  <a:gd name="connsiteY7" fmla="*/ 247337 h 288560"/>
                  <a:gd name="connsiteX8" fmla="*/ 262327 w 266075"/>
                  <a:gd name="connsiteY8" fmla="*/ 288560 h 288560"/>
                  <a:gd name="connsiteX9" fmla="*/ 209862 w 266075"/>
                  <a:gd name="connsiteY9" fmla="*/ 266075 h 288560"/>
                  <a:gd name="connsiteX10" fmla="*/ 131164 w 266075"/>
                  <a:gd name="connsiteY10" fmla="*/ 183629 h 288560"/>
                  <a:gd name="connsiteX11" fmla="*/ 108678 w 266075"/>
                  <a:gd name="connsiteY11" fmla="*/ 138659 h 288560"/>
                  <a:gd name="connsiteX12" fmla="*/ 74950 w 266075"/>
                  <a:gd name="connsiteY12" fmla="*/ 119921 h 288560"/>
                  <a:gd name="connsiteX13" fmla="*/ 74950 w 266075"/>
                  <a:gd name="connsiteY13" fmla="*/ 82445 h 288560"/>
                  <a:gd name="connsiteX14" fmla="*/ 0 w 266075"/>
                  <a:gd name="connsiteY14" fmla="*/ 0 h 288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6075" h="288560">
                    <a:moveTo>
                      <a:pt x="0" y="0"/>
                    </a:moveTo>
                    <a:lnTo>
                      <a:pt x="74950" y="26232"/>
                    </a:lnTo>
                    <a:lnTo>
                      <a:pt x="74950" y="26232"/>
                    </a:lnTo>
                    <a:lnTo>
                      <a:pt x="131164" y="93688"/>
                    </a:lnTo>
                    <a:lnTo>
                      <a:pt x="138659" y="134911"/>
                    </a:lnTo>
                    <a:lnTo>
                      <a:pt x="213609" y="172386"/>
                    </a:lnTo>
                    <a:lnTo>
                      <a:pt x="232347" y="209862"/>
                    </a:lnTo>
                    <a:lnTo>
                      <a:pt x="266075" y="247337"/>
                    </a:lnTo>
                    <a:lnTo>
                      <a:pt x="262327" y="288560"/>
                    </a:lnTo>
                    <a:lnTo>
                      <a:pt x="209862" y="266075"/>
                    </a:lnTo>
                    <a:lnTo>
                      <a:pt x="131164" y="183629"/>
                    </a:lnTo>
                    <a:lnTo>
                      <a:pt x="108678" y="138659"/>
                    </a:lnTo>
                    <a:lnTo>
                      <a:pt x="74950" y="119921"/>
                    </a:lnTo>
                    <a:lnTo>
                      <a:pt x="74950" y="82445"/>
                    </a:lnTo>
                    <a:lnTo>
                      <a:pt x="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06" name="Friform 44"/>
              <p:cNvSpPr/>
              <p:nvPr/>
            </p:nvSpPr>
            <p:spPr bwMode="auto">
              <a:xfrm>
                <a:off x="6180611" y="3332388"/>
                <a:ext cx="261397" cy="61678"/>
              </a:xfrm>
              <a:custGeom>
                <a:avLst/>
                <a:gdLst>
                  <a:gd name="connsiteX0" fmla="*/ 0 w 333531"/>
                  <a:gd name="connsiteY0" fmla="*/ 0 h 78698"/>
                  <a:gd name="connsiteX1" fmla="*/ 59960 w 333531"/>
                  <a:gd name="connsiteY1" fmla="*/ 14990 h 78698"/>
                  <a:gd name="connsiteX2" fmla="*/ 59960 w 333531"/>
                  <a:gd name="connsiteY2" fmla="*/ 14990 h 78698"/>
                  <a:gd name="connsiteX3" fmla="*/ 146154 w 333531"/>
                  <a:gd name="connsiteY3" fmla="*/ 22485 h 78698"/>
                  <a:gd name="connsiteX4" fmla="*/ 146154 w 333531"/>
                  <a:gd name="connsiteY4" fmla="*/ 22485 h 78698"/>
                  <a:gd name="connsiteX5" fmla="*/ 198619 w 333531"/>
                  <a:gd name="connsiteY5" fmla="*/ 52466 h 78698"/>
                  <a:gd name="connsiteX6" fmla="*/ 273570 w 333531"/>
                  <a:gd name="connsiteY6" fmla="*/ 59961 h 78698"/>
                  <a:gd name="connsiteX7" fmla="*/ 333531 w 333531"/>
                  <a:gd name="connsiteY7" fmla="*/ 71203 h 78698"/>
                  <a:gd name="connsiteX8" fmla="*/ 213610 w 333531"/>
                  <a:gd name="connsiteY8" fmla="*/ 78698 h 78698"/>
                  <a:gd name="connsiteX9" fmla="*/ 149901 w 333531"/>
                  <a:gd name="connsiteY9" fmla="*/ 59961 h 78698"/>
                  <a:gd name="connsiteX10" fmla="*/ 82446 w 333531"/>
                  <a:gd name="connsiteY10" fmla="*/ 48718 h 78698"/>
                  <a:gd name="connsiteX11" fmla="*/ 48718 w 333531"/>
                  <a:gd name="connsiteY11" fmla="*/ 48718 h 78698"/>
                  <a:gd name="connsiteX12" fmla="*/ 0 w 333531"/>
                  <a:gd name="connsiteY12" fmla="*/ 0 h 7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3531" h="78698">
                    <a:moveTo>
                      <a:pt x="0" y="0"/>
                    </a:moveTo>
                    <a:lnTo>
                      <a:pt x="59960" y="14990"/>
                    </a:lnTo>
                    <a:lnTo>
                      <a:pt x="59960" y="14990"/>
                    </a:lnTo>
                    <a:lnTo>
                      <a:pt x="146154" y="22485"/>
                    </a:lnTo>
                    <a:lnTo>
                      <a:pt x="146154" y="22485"/>
                    </a:lnTo>
                    <a:lnTo>
                      <a:pt x="198619" y="52466"/>
                    </a:lnTo>
                    <a:lnTo>
                      <a:pt x="273570" y="59961"/>
                    </a:lnTo>
                    <a:lnTo>
                      <a:pt x="333531" y="71203"/>
                    </a:lnTo>
                    <a:lnTo>
                      <a:pt x="213610" y="78698"/>
                    </a:lnTo>
                    <a:lnTo>
                      <a:pt x="149901" y="59961"/>
                    </a:lnTo>
                    <a:lnTo>
                      <a:pt x="82446" y="48718"/>
                    </a:lnTo>
                    <a:lnTo>
                      <a:pt x="48718" y="48718"/>
                    </a:lnTo>
                    <a:lnTo>
                      <a:pt x="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07" name="Friform 45"/>
              <p:cNvSpPr/>
              <p:nvPr/>
            </p:nvSpPr>
            <p:spPr bwMode="auto">
              <a:xfrm>
                <a:off x="6198233" y="3094488"/>
                <a:ext cx="187971" cy="170349"/>
              </a:xfrm>
              <a:custGeom>
                <a:avLst/>
                <a:gdLst>
                  <a:gd name="connsiteX0" fmla="*/ 217357 w 239843"/>
                  <a:gd name="connsiteY0" fmla="*/ 0 h 217358"/>
                  <a:gd name="connsiteX1" fmla="*/ 153649 w 239843"/>
                  <a:gd name="connsiteY1" fmla="*/ 41223 h 217358"/>
                  <a:gd name="connsiteX2" fmla="*/ 104931 w 239843"/>
                  <a:gd name="connsiteY2" fmla="*/ 86194 h 217358"/>
                  <a:gd name="connsiteX3" fmla="*/ 44971 w 239843"/>
                  <a:gd name="connsiteY3" fmla="*/ 104931 h 217358"/>
                  <a:gd name="connsiteX4" fmla="*/ 0 w 239843"/>
                  <a:gd name="connsiteY4" fmla="*/ 134912 h 217358"/>
                  <a:gd name="connsiteX5" fmla="*/ 18738 w 239843"/>
                  <a:gd name="connsiteY5" fmla="*/ 179882 h 217358"/>
                  <a:gd name="connsiteX6" fmla="*/ 86193 w 239843"/>
                  <a:gd name="connsiteY6" fmla="*/ 191125 h 217358"/>
                  <a:gd name="connsiteX7" fmla="*/ 131164 w 239843"/>
                  <a:gd name="connsiteY7" fmla="*/ 217358 h 217358"/>
                  <a:gd name="connsiteX8" fmla="*/ 191125 w 239843"/>
                  <a:gd name="connsiteY8" fmla="*/ 198620 h 217358"/>
                  <a:gd name="connsiteX9" fmla="*/ 202367 w 239843"/>
                  <a:gd name="connsiteY9" fmla="*/ 142407 h 217358"/>
                  <a:gd name="connsiteX10" fmla="*/ 239843 w 239843"/>
                  <a:gd name="connsiteY10" fmla="*/ 108679 h 217358"/>
                  <a:gd name="connsiteX11" fmla="*/ 221105 w 239843"/>
                  <a:gd name="connsiteY11" fmla="*/ 56213 h 217358"/>
                  <a:gd name="connsiteX12" fmla="*/ 217357 w 239843"/>
                  <a:gd name="connsiteY12" fmla="*/ 0 h 217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843" h="217358">
                    <a:moveTo>
                      <a:pt x="217357" y="0"/>
                    </a:moveTo>
                    <a:lnTo>
                      <a:pt x="153649" y="41223"/>
                    </a:lnTo>
                    <a:lnTo>
                      <a:pt x="104931" y="86194"/>
                    </a:lnTo>
                    <a:lnTo>
                      <a:pt x="44971" y="104931"/>
                    </a:lnTo>
                    <a:lnTo>
                      <a:pt x="0" y="134912"/>
                    </a:lnTo>
                    <a:lnTo>
                      <a:pt x="18738" y="179882"/>
                    </a:lnTo>
                    <a:lnTo>
                      <a:pt x="86193" y="191125"/>
                    </a:lnTo>
                    <a:lnTo>
                      <a:pt x="131164" y="217358"/>
                    </a:lnTo>
                    <a:lnTo>
                      <a:pt x="191125" y="198620"/>
                    </a:lnTo>
                    <a:lnTo>
                      <a:pt x="202367" y="142407"/>
                    </a:lnTo>
                    <a:lnTo>
                      <a:pt x="239843" y="108679"/>
                    </a:lnTo>
                    <a:lnTo>
                      <a:pt x="221105" y="56213"/>
                    </a:lnTo>
                    <a:lnTo>
                      <a:pt x="217357"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08" name="Friform 46"/>
              <p:cNvSpPr/>
              <p:nvPr/>
            </p:nvSpPr>
            <p:spPr bwMode="auto">
              <a:xfrm>
                <a:off x="6415575" y="2862462"/>
                <a:ext cx="73426" cy="120419"/>
              </a:xfrm>
              <a:custGeom>
                <a:avLst/>
                <a:gdLst>
                  <a:gd name="connsiteX0" fmla="*/ 26233 w 93689"/>
                  <a:gd name="connsiteY0" fmla="*/ 0 h 153649"/>
                  <a:gd name="connsiteX1" fmla="*/ 0 w 93689"/>
                  <a:gd name="connsiteY1" fmla="*/ 59960 h 153649"/>
                  <a:gd name="connsiteX2" fmla="*/ 11243 w 93689"/>
                  <a:gd name="connsiteY2" fmla="*/ 116173 h 153649"/>
                  <a:gd name="connsiteX3" fmla="*/ 26233 w 93689"/>
                  <a:gd name="connsiteY3" fmla="*/ 153649 h 153649"/>
                  <a:gd name="connsiteX4" fmla="*/ 52466 w 93689"/>
                  <a:gd name="connsiteY4" fmla="*/ 112426 h 153649"/>
                  <a:gd name="connsiteX5" fmla="*/ 93689 w 93689"/>
                  <a:gd name="connsiteY5" fmla="*/ 131163 h 153649"/>
                  <a:gd name="connsiteX6" fmla="*/ 52466 w 93689"/>
                  <a:gd name="connsiteY6" fmla="*/ 82445 h 153649"/>
                  <a:gd name="connsiteX7" fmla="*/ 63708 w 93689"/>
                  <a:gd name="connsiteY7" fmla="*/ 44970 h 153649"/>
                  <a:gd name="connsiteX8" fmla="*/ 26233 w 93689"/>
                  <a:gd name="connsiteY8" fmla="*/ 0 h 153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689" h="153649">
                    <a:moveTo>
                      <a:pt x="26233" y="0"/>
                    </a:moveTo>
                    <a:lnTo>
                      <a:pt x="0" y="59960"/>
                    </a:lnTo>
                    <a:lnTo>
                      <a:pt x="11243" y="116173"/>
                    </a:lnTo>
                    <a:lnTo>
                      <a:pt x="26233" y="153649"/>
                    </a:lnTo>
                    <a:lnTo>
                      <a:pt x="52466" y="112426"/>
                    </a:lnTo>
                    <a:lnTo>
                      <a:pt x="93689" y="131163"/>
                    </a:lnTo>
                    <a:lnTo>
                      <a:pt x="52466" y="82445"/>
                    </a:lnTo>
                    <a:lnTo>
                      <a:pt x="63708" y="44970"/>
                    </a:lnTo>
                    <a:lnTo>
                      <a:pt x="26233"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09" name="Friform 47"/>
              <p:cNvSpPr/>
              <p:nvPr/>
            </p:nvSpPr>
            <p:spPr bwMode="auto">
              <a:xfrm>
                <a:off x="6439071" y="3021062"/>
                <a:ext cx="91049" cy="91049"/>
              </a:xfrm>
              <a:custGeom>
                <a:avLst/>
                <a:gdLst>
                  <a:gd name="connsiteX0" fmla="*/ 93689 w 116174"/>
                  <a:gd name="connsiteY0" fmla="*/ 0 h 116174"/>
                  <a:gd name="connsiteX1" fmla="*/ 59961 w 116174"/>
                  <a:gd name="connsiteY1" fmla="*/ 41223 h 116174"/>
                  <a:gd name="connsiteX2" fmla="*/ 29981 w 116174"/>
                  <a:gd name="connsiteY2" fmla="*/ 33728 h 116174"/>
                  <a:gd name="connsiteX3" fmla="*/ 0 w 116174"/>
                  <a:gd name="connsiteY3" fmla="*/ 67455 h 116174"/>
                  <a:gd name="connsiteX4" fmla="*/ 52466 w 116174"/>
                  <a:gd name="connsiteY4" fmla="*/ 71203 h 116174"/>
                  <a:gd name="connsiteX5" fmla="*/ 56214 w 116174"/>
                  <a:gd name="connsiteY5" fmla="*/ 108678 h 116174"/>
                  <a:gd name="connsiteX6" fmla="*/ 97436 w 116174"/>
                  <a:gd name="connsiteY6" fmla="*/ 112426 h 116174"/>
                  <a:gd name="connsiteX7" fmla="*/ 97436 w 116174"/>
                  <a:gd name="connsiteY7" fmla="*/ 112426 h 116174"/>
                  <a:gd name="connsiteX8" fmla="*/ 116174 w 116174"/>
                  <a:gd name="connsiteY8" fmla="*/ 116174 h 116174"/>
                  <a:gd name="connsiteX9" fmla="*/ 112427 w 116174"/>
                  <a:gd name="connsiteY9" fmla="*/ 82446 h 116174"/>
                  <a:gd name="connsiteX10" fmla="*/ 112427 w 116174"/>
                  <a:gd name="connsiteY10" fmla="*/ 82446 h 116174"/>
                  <a:gd name="connsiteX11" fmla="*/ 93689 w 116174"/>
                  <a:gd name="connsiteY11" fmla="*/ 0 h 11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174" h="116174">
                    <a:moveTo>
                      <a:pt x="93689" y="0"/>
                    </a:moveTo>
                    <a:lnTo>
                      <a:pt x="59961" y="41223"/>
                    </a:lnTo>
                    <a:lnTo>
                      <a:pt x="29981" y="33728"/>
                    </a:lnTo>
                    <a:lnTo>
                      <a:pt x="0" y="67455"/>
                    </a:lnTo>
                    <a:lnTo>
                      <a:pt x="52466" y="71203"/>
                    </a:lnTo>
                    <a:lnTo>
                      <a:pt x="56214" y="108678"/>
                    </a:lnTo>
                    <a:lnTo>
                      <a:pt x="97436" y="112426"/>
                    </a:lnTo>
                    <a:lnTo>
                      <a:pt x="97436" y="112426"/>
                    </a:lnTo>
                    <a:lnTo>
                      <a:pt x="116174" y="116174"/>
                    </a:lnTo>
                    <a:lnTo>
                      <a:pt x="112427" y="82446"/>
                    </a:lnTo>
                    <a:lnTo>
                      <a:pt x="112427" y="82446"/>
                    </a:lnTo>
                    <a:lnTo>
                      <a:pt x="93689"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0" name="Friform 48"/>
              <p:cNvSpPr/>
              <p:nvPr/>
            </p:nvSpPr>
            <p:spPr bwMode="auto">
              <a:xfrm>
                <a:off x="5649945" y="3035380"/>
                <a:ext cx="52255" cy="72162"/>
              </a:xfrm>
              <a:custGeom>
                <a:avLst/>
                <a:gdLst>
                  <a:gd name="connsiteX0" fmla="*/ 22225 w 66675"/>
                  <a:gd name="connsiteY0" fmla="*/ 0 h 92075"/>
                  <a:gd name="connsiteX1" fmla="*/ 0 w 66675"/>
                  <a:gd name="connsiteY1" fmla="*/ 38100 h 92075"/>
                  <a:gd name="connsiteX2" fmla="*/ 15875 w 66675"/>
                  <a:gd name="connsiteY2" fmla="*/ 92075 h 92075"/>
                  <a:gd name="connsiteX3" fmla="*/ 60325 w 66675"/>
                  <a:gd name="connsiteY3" fmla="*/ 79375 h 92075"/>
                  <a:gd name="connsiteX4" fmla="*/ 60325 w 66675"/>
                  <a:gd name="connsiteY4" fmla="*/ 79375 h 92075"/>
                  <a:gd name="connsiteX5" fmla="*/ 66675 w 66675"/>
                  <a:gd name="connsiteY5" fmla="*/ 44450 h 92075"/>
                  <a:gd name="connsiteX6" fmla="*/ 22225 w 66675"/>
                  <a:gd name="connsiteY6" fmla="*/ 0 h 9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75" h="92075">
                    <a:moveTo>
                      <a:pt x="22225" y="0"/>
                    </a:moveTo>
                    <a:lnTo>
                      <a:pt x="0" y="38100"/>
                    </a:lnTo>
                    <a:lnTo>
                      <a:pt x="15875" y="92075"/>
                    </a:lnTo>
                    <a:lnTo>
                      <a:pt x="60325" y="79375"/>
                    </a:lnTo>
                    <a:lnTo>
                      <a:pt x="60325" y="79375"/>
                    </a:lnTo>
                    <a:lnTo>
                      <a:pt x="66675" y="44450"/>
                    </a:lnTo>
                    <a:lnTo>
                      <a:pt x="22225"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1" name="Friform 49"/>
              <p:cNvSpPr/>
              <p:nvPr/>
            </p:nvSpPr>
            <p:spPr bwMode="auto">
              <a:xfrm>
                <a:off x="6829412" y="2072397"/>
                <a:ext cx="54743" cy="209020"/>
              </a:xfrm>
              <a:custGeom>
                <a:avLst/>
                <a:gdLst>
                  <a:gd name="connsiteX0" fmla="*/ 34925 w 69850"/>
                  <a:gd name="connsiteY0" fmla="*/ 0 h 266700"/>
                  <a:gd name="connsiteX1" fmla="*/ 3175 w 69850"/>
                  <a:gd name="connsiteY1" fmla="*/ 22225 h 266700"/>
                  <a:gd name="connsiteX2" fmla="*/ 0 w 69850"/>
                  <a:gd name="connsiteY2" fmla="*/ 101600 h 266700"/>
                  <a:gd name="connsiteX3" fmla="*/ 15875 w 69850"/>
                  <a:gd name="connsiteY3" fmla="*/ 139700 h 266700"/>
                  <a:gd name="connsiteX4" fmla="*/ 3175 w 69850"/>
                  <a:gd name="connsiteY4" fmla="*/ 171450 h 266700"/>
                  <a:gd name="connsiteX5" fmla="*/ 9525 w 69850"/>
                  <a:gd name="connsiteY5" fmla="*/ 228600 h 266700"/>
                  <a:gd name="connsiteX6" fmla="*/ 0 w 69850"/>
                  <a:gd name="connsiteY6" fmla="*/ 266700 h 266700"/>
                  <a:gd name="connsiteX7" fmla="*/ 34925 w 69850"/>
                  <a:gd name="connsiteY7" fmla="*/ 238125 h 266700"/>
                  <a:gd name="connsiteX8" fmla="*/ 57150 w 69850"/>
                  <a:gd name="connsiteY8" fmla="*/ 263525 h 266700"/>
                  <a:gd name="connsiteX9" fmla="*/ 31750 w 69850"/>
                  <a:gd name="connsiteY9" fmla="*/ 206375 h 266700"/>
                  <a:gd name="connsiteX10" fmla="*/ 41275 w 69850"/>
                  <a:gd name="connsiteY10" fmla="*/ 152400 h 266700"/>
                  <a:gd name="connsiteX11" fmla="*/ 69850 w 69850"/>
                  <a:gd name="connsiteY11" fmla="*/ 161925 h 266700"/>
                  <a:gd name="connsiteX12" fmla="*/ 50800 w 69850"/>
                  <a:gd name="connsiteY12" fmla="*/ 104775 h 266700"/>
                  <a:gd name="connsiteX13" fmla="*/ 25400 w 69850"/>
                  <a:gd name="connsiteY13" fmla="*/ 69850 h 266700"/>
                  <a:gd name="connsiteX14" fmla="*/ 34925 w 69850"/>
                  <a:gd name="connsiteY14"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850" h="266700">
                    <a:moveTo>
                      <a:pt x="34925" y="0"/>
                    </a:moveTo>
                    <a:lnTo>
                      <a:pt x="3175" y="22225"/>
                    </a:lnTo>
                    <a:lnTo>
                      <a:pt x="0" y="101600"/>
                    </a:lnTo>
                    <a:lnTo>
                      <a:pt x="15875" y="139700"/>
                    </a:lnTo>
                    <a:lnTo>
                      <a:pt x="3175" y="171450"/>
                    </a:lnTo>
                    <a:lnTo>
                      <a:pt x="9525" y="228600"/>
                    </a:lnTo>
                    <a:lnTo>
                      <a:pt x="0" y="266700"/>
                    </a:lnTo>
                    <a:lnTo>
                      <a:pt x="34925" y="238125"/>
                    </a:lnTo>
                    <a:lnTo>
                      <a:pt x="57150" y="263525"/>
                    </a:lnTo>
                    <a:lnTo>
                      <a:pt x="31750" y="206375"/>
                    </a:lnTo>
                    <a:lnTo>
                      <a:pt x="41275" y="152400"/>
                    </a:lnTo>
                    <a:lnTo>
                      <a:pt x="69850" y="161925"/>
                    </a:lnTo>
                    <a:lnTo>
                      <a:pt x="50800" y="104775"/>
                    </a:lnTo>
                    <a:lnTo>
                      <a:pt x="25400" y="69850"/>
                    </a:lnTo>
                    <a:lnTo>
                      <a:pt x="34925"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2" name="Friform 50"/>
              <p:cNvSpPr/>
              <p:nvPr/>
            </p:nvSpPr>
            <p:spPr bwMode="auto">
              <a:xfrm>
                <a:off x="6792087" y="2281416"/>
                <a:ext cx="111975" cy="104510"/>
              </a:xfrm>
              <a:custGeom>
                <a:avLst/>
                <a:gdLst>
                  <a:gd name="connsiteX0" fmla="*/ 60325 w 142875"/>
                  <a:gd name="connsiteY0" fmla="*/ 0 h 133350"/>
                  <a:gd name="connsiteX1" fmla="*/ 38100 w 142875"/>
                  <a:gd name="connsiteY1" fmla="*/ 22225 h 133350"/>
                  <a:gd name="connsiteX2" fmla="*/ 44450 w 142875"/>
                  <a:gd name="connsiteY2" fmla="*/ 57150 h 133350"/>
                  <a:gd name="connsiteX3" fmla="*/ 22225 w 142875"/>
                  <a:gd name="connsiteY3" fmla="*/ 76200 h 133350"/>
                  <a:gd name="connsiteX4" fmla="*/ 0 w 142875"/>
                  <a:gd name="connsiteY4" fmla="*/ 101600 h 133350"/>
                  <a:gd name="connsiteX5" fmla="*/ 12700 w 142875"/>
                  <a:gd name="connsiteY5" fmla="*/ 133350 h 133350"/>
                  <a:gd name="connsiteX6" fmla="*/ 28575 w 142875"/>
                  <a:gd name="connsiteY6" fmla="*/ 104775 h 133350"/>
                  <a:gd name="connsiteX7" fmla="*/ 53975 w 142875"/>
                  <a:gd name="connsiteY7" fmla="*/ 88900 h 133350"/>
                  <a:gd name="connsiteX8" fmla="*/ 73025 w 142875"/>
                  <a:gd name="connsiteY8" fmla="*/ 120650 h 133350"/>
                  <a:gd name="connsiteX9" fmla="*/ 95250 w 142875"/>
                  <a:gd name="connsiteY9" fmla="*/ 95250 h 133350"/>
                  <a:gd name="connsiteX10" fmla="*/ 95250 w 142875"/>
                  <a:gd name="connsiteY10" fmla="*/ 95250 h 133350"/>
                  <a:gd name="connsiteX11" fmla="*/ 133350 w 142875"/>
                  <a:gd name="connsiteY11" fmla="*/ 85725 h 133350"/>
                  <a:gd name="connsiteX12" fmla="*/ 142875 w 142875"/>
                  <a:gd name="connsiteY12" fmla="*/ 44450 h 133350"/>
                  <a:gd name="connsiteX13" fmla="*/ 111125 w 142875"/>
                  <a:gd name="connsiteY13" fmla="*/ 57150 h 133350"/>
                  <a:gd name="connsiteX14" fmla="*/ 60325 w 142875"/>
                  <a:gd name="connsiteY14"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875" h="133350">
                    <a:moveTo>
                      <a:pt x="60325" y="0"/>
                    </a:moveTo>
                    <a:lnTo>
                      <a:pt x="38100" y="22225"/>
                    </a:lnTo>
                    <a:lnTo>
                      <a:pt x="44450" y="57150"/>
                    </a:lnTo>
                    <a:lnTo>
                      <a:pt x="22225" y="76200"/>
                    </a:lnTo>
                    <a:lnTo>
                      <a:pt x="0" y="101600"/>
                    </a:lnTo>
                    <a:lnTo>
                      <a:pt x="12700" y="133350"/>
                    </a:lnTo>
                    <a:lnTo>
                      <a:pt x="28575" y="104775"/>
                    </a:lnTo>
                    <a:lnTo>
                      <a:pt x="53975" y="88900"/>
                    </a:lnTo>
                    <a:lnTo>
                      <a:pt x="73025" y="120650"/>
                    </a:lnTo>
                    <a:lnTo>
                      <a:pt x="95250" y="95250"/>
                    </a:lnTo>
                    <a:lnTo>
                      <a:pt x="95250" y="95250"/>
                    </a:lnTo>
                    <a:lnTo>
                      <a:pt x="133350" y="85725"/>
                    </a:lnTo>
                    <a:lnTo>
                      <a:pt x="142875" y="44450"/>
                    </a:lnTo>
                    <a:lnTo>
                      <a:pt x="111125" y="57150"/>
                    </a:lnTo>
                    <a:lnTo>
                      <a:pt x="60325"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3" name="Friform 51"/>
              <p:cNvSpPr/>
              <p:nvPr/>
            </p:nvSpPr>
            <p:spPr bwMode="auto">
              <a:xfrm>
                <a:off x="6593021" y="2385926"/>
                <a:ext cx="248833" cy="238880"/>
              </a:xfrm>
              <a:custGeom>
                <a:avLst/>
                <a:gdLst>
                  <a:gd name="connsiteX0" fmla="*/ 263525 w 317500"/>
                  <a:gd name="connsiteY0" fmla="*/ 0 h 304800"/>
                  <a:gd name="connsiteX1" fmla="*/ 247650 w 317500"/>
                  <a:gd name="connsiteY1" fmla="*/ 28575 h 304800"/>
                  <a:gd name="connsiteX2" fmla="*/ 254000 w 317500"/>
                  <a:gd name="connsiteY2" fmla="*/ 66675 h 304800"/>
                  <a:gd name="connsiteX3" fmla="*/ 219075 w 317500"/>
                  <a:gd name="connsiteY3" fmla="*/ 114300 h 304800"/>
                  <a:gd name="connsiteX4" fmla="*/ 171450 w 317500"/>
                  <a:gd name="connsiteY4" fmla="*/ 139700 h 304800"/>
                  <a:gd name="connsiteX5" fmla="*/ 152400 w 317500"/>
                  <a:gd name="connsiteY5" fmla="*/ 168275 h 304800"/>
                  <a:gd name="connsiteX6" fmla="*/ 101600 w 317500"/>
                  <a:gd name="connsiteY6" fmla="*/ 165100 h 304800"/>
                  <a:gd name="connsiteX7" fmla="*/ 31750 w 317500"/>
                  <a:gd name="connsiteY7" fmla="*/ 206375 h 304800"/>
                  <a:gd name="connsiteX8" fmla="*/ 0 w 317500"/>
                  <a:gd name="connsiteY8" fmla="*/ 231775 h 304800"/>
                  <a:gd name="connsiteX9" fmla="*/ 19050 w 317500"/>
                  <a:gd name="connsiteY9" fmla="*/ 273050 h 304800"/>
                  <a:gd name="connsiteX10" fmla="*/ 9525 w 317500"/>
                  <a:gd name="connsiteY10" fmla="*/ 304800 h 304800"/>
                  <a:gd name="connsiteX11" fmla="*/ 9525 w 317500"/>
                  <a:gd name="connsiteY11" fmla="*/ 304800 h 304800"/>
                  <a:gd name="connsiteX12" fmla="*/ 60325 w 317500"/>
                  <a:gd name="connsiteY12" fmla="*/ 282575 h 304800"/>
                  <a:gd name="connsiteX13" fmla="*/ 60325 w 317500"/>
                  <a:gd name="connsiteY13" fmla="*/ 234950 h 304800"/>
                  <a:gd name="connsiteX14" fmla="*/ 38100 w 317500"/>
                  <a:gd name="connsiteY14" fmla="*/ 225425 h 304800"/>
                  <a:gd name="connsiteX15" fmla="*/ 85725 w 317500"/>
                  <a:gd name="connsiteY15" fmla="*/ 193675 h 304800"/>
                  <a:gd name="connsiteX16" fmla="*/ 149225 w 317500"/>
                  <a:gd name="connsiteY16" fmla="*/ 187325 h 304800"/>
                  <a:gd name="connsiteX17" fmla="*/ 149225 w 317500"/>
                  <a:gd name="connsiteY17" fmla="*/ 187325 h 304800"/>
                  <a:gd name="connsiteX18" fmla="*/ 184150 w 317500"/>
                  <a:gd name="connsiteY18" fmla="*/ 222250 h 304800"/>
                  <a:gd name="connsiteX19" fmla="*/ 184150 w 317500"/>
                  <a:gd name="connsiteY19" fmla="*/ 184150 h 304800"/>
                  <a:gd name="connsiteX20" fmla="*/ 228600 w 317500"/>
                  <a:gd name="connsiteY20" fmla="*/ 180975 h 304800"/>
                  <a:gd name="connsiteX21" fmla="*/ 266700 w 317500"/>
                  <a:gd name="connsiteY21" fmla="*/ 142875 h 304800"/>
                  <a:gd name="connsiteX22" fmla="*/ 292100 w 317500"/>
                  <a:gd name="connsiteY22" fmla="*/ 85725 h 304800"/>
                  <a:gd name="connsiteX23" fmla="*/ 317500 w 317500"/>
                  <a:gd name="connsiteY23" fmla="*/ 50800 h 304800"/>
                  <a:gd name="connsiteX24" fmla="*/ 263525 w 317500"/>
                  <a:gd name="connsiteY24"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7500" h="304800">
                    <a:moveTo>
                      <a:pt x="263525" y="0"/>
                    </a:moveTo>
                    <a:lnTo>
                      <a:pt x="247650" y="28575"/>
                    </a:lnTo>
                    <a:lnTo>
                      <a:pt x="254000" y="66675"/>
                    </a:lnTo>
                    <a:lnTo>
                      <a:pt x="219075" y="114300"/>
                    </a:lnTo>
                    <a:lnTo>
                      <a:pt x="171450" y="139700"/>
                    </a:lnTo>
                    <a:lnTo>
                      <a:pt x="152400" y="168275"/>
                    </a:lnTo>
                    <a:lnTo>
                      <a:pt x="101600" y="165100"/>
                    </a:lnTo>
                    <a:lnTo>
                      <a:pt x="31750" y="206375"/>
                    </a:lnTo>
                    <a:lnTo>
                      <a:pt x="0" y="231775"/>
                    </a:lnTo>
                    <a:lnTo>
                      <a:pt x="19050" y="273050"/>
                    </a:lnTo>
                    <a:lnTo>
                      <a:pt x="9525" y="304800"/>
                    </a:lnTo>
                    <a:lnTo>
                      <a:pt x="9525" y="304800"/>
                    </a:lnTo>
                    <a:lnTo>
                      <a:pt x="60325" y="282575"/>
                    </a:lnTo>
                    <a:lnTo>
                      <a:pt x="60325" y="234950"/>
                    </a:lnTo>
                    <a:lnTo>
                      <a:pt x="38100" y="225425"/>
                    </a:lnTo>
                    <a:lnTo>
                      <a:pt x="85725" y="193675"/>
                    </a:lnTo>
                    <a:lnTo>
                      <a:pt x="149225" y="187325"/>
                    </a:lnTo>
                    <a:lnTo>
                      <a:pt x="149225" y="187325"/>
                    </a:lnTo>
                    <a:lnTo>
                      <a:pt x="184150" y="222250"/>
                    </a:lnTo>
                    <a:lnTo>
                      <a:pt x="184150" y="184150"/>
                    </a:lnTo>
                    <a:lnTo>
                      <a:pt x="228600" y="180975"/>
                    </a:lnTo>
                    <a:lnTo>
                      <a:pt x="266700" y="142875"/>
                    </a:lnTo>
                    <a:lnTo>
                      <a:pt x="292100" y="85725"/>
                    </a:lnTo>
                    <a:lnTo>
                      <a:pt x="317500" y="50800"/>
                    </a:lnTo>
                    <a:lnTo>
                      <a:pt x="263525"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4" name="Friform 52"/>
              <p:cNvSpPr/>
              <p:nvPr/>
            </p:nvSpPr>
            <p:spPr bwMode="auto">
              <a:xfrm>
                <a:off x="5883847" y="1184064"/>
                <a:ext cx="84603" cy="47278"/>
              </a:xfrm>
              <a:custGeom>
                <a:avLst/>
                <a:gdLst>
                  <a:gd name="connsiteX0" fmla="*/ 107950 w 107950"/>
                  <a:gd name="connsiteY0" fmla="*/ 0 h 60325"/>
                  <a:gd name="connsiteX1" fmla="*/ 28575 w 107950"/>
                  <a:gd name="connsiteY1" fmla="*/ 6350 h 60325"/>
                  <a:gd name="connsiteX2" fmla="*/ 0 w 107950"/>
                  <a:gd name="connsiteY2" fmla="*/ 44450 h 60325"/>
                  <a:gd name="connsiteX3" fmla="*/ 57150 w 107950"/>
                  <a:gd name="connsiteY3" fmla="*/ 60325 h 60325"/>
                  <a:gd name="connsiteX4" fmla="*/ 107950 w 107950"/>
                  <a:gd name="connsiteY4" fmla="*/ 0 h 60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50" h="60325">
                    <a:moveTo>
                      <a:pt x="107950" y="0"/>
                    </a:moveTo>
                    <a:lnTo>
                      <a:pt x="28575" y="6350"/>
                    </a:lnTo>
                    <a:lnTo>
                      <a:pt x="0" y="44450"/>
                    </a:lnTo>
                    <a:lnTo>
                      <a:pt x="57150" y="60325"/>
                    </a:lnTo>
                    <a:lnTo>
                      <a:pt x="10795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5" name="Friform 53"/>
              <p:cNvSpPr/>
              <p:nvPr/>
            </p:nvSpPr>
            <p:spPr bwMode="auto">
              <a:xfrm>
                <a:off x="5921172" y="1208947"/>
                <a:ext cx="129393" cy="74650"/>
              </a:xfrm>
              <a:custGeom>
                <a:avLst/>
                <a:gdLst>
                  <a:gd name="connsiteX0" fmla="*/ 149225 w 165100"/>
                  <a:gd name="connsiteY0" fmla="*/ 22225 h 95250"/>
                  <a:gd name="connsiteX1" fmla="*/ 127000 w 165100"/>
                  <a:gd name="connsiteY1" fmla="*/ 63500 h 95250"/>
                  <a:gd name="connsiteX2" fmla="*/ 92075 w 165100"/>
                  <a:gd name="connsiteY2" fmla="*/ 69850 h 95250"/>
                  <a:gd name="connsiteX3" fmla="*/ 165100 w 165100"/>
                  <a:gd name="connsiteY3" fmla="*/ 88900 h 95250"/>
                  <a:gd name="connsiteX4" fmla="*/ 95250 w 165100"/>
                  <a:gd name="connsiteY4" fmla="*/ 95250 h 95250"/>
                  <a:gd name="connsiteX5" fmla="*/ 12700 w 165100"/>
                  <a:gd name="connsiteY5" fmla="*/ 69850 h 95250"/>
                  <a:gd name="connsiteX6" fmla="*/ 0 w 165100"/>
                  <a:gd name="connsiteY6" fmla="*/ 41275 h 95250"/>
                  <a:gd name="connsiteX7" fmla="*/ 85725 w 165100"/>
                  <a:gd name="connsiteY7" fmla="*/ 0 h 95250"/>
                  <a:gd name="connsiteX8" fmla="*/ 76200 w 165100"/>
                  <a:gd name="connsiteY8" fmla="*/ 41275 h 95250"/>
                  <a:gd name="connsiteX9" fmla="*/ 149225 w 165100"/>
                  <a:gd name="connsiteY9" fmla="*/ 22225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100" h="95250">
                    <a:moveTo>
                      <a:pt x="149225" y="22225"/>
                    </a:moveTo>
                    <a:lnTo>
                      <a:pt x="127000" y="63500"/>
                    </a:lnTo>
                    <a:lnTo>
                      <a:pt x="92075" y="69850"/>
                    </a:lnTo>
                    <a:lnTo>
                      <a:pt x="165100" y="88900"/>
                    </a:lnTo>
                    <a:lnTo>
                      <a:pt x="95250" y="95250"/>
                    </a:lnTo>
                    <a:lnTo>
                      <a:pt x="12700" y="69850"/>
                    </a:lnTo>
                    <a:lnTo>
                      <a:pt x="0" y="41275"/>
                    </a:lnTo>
                    <a:lnTo>
                      <a:pt x="85725" y="0"/>
                    </a:lnTo>
                    <a:lnTo>
                      <a:pt x="76200" y="41275"/>
                    </a:lnTo>
                    <a:lnTo>
                      <a:pt x="149225" y="22225"/>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6" name="Friform 54"/>
              <p:cNvSpPr/>
              <p:nvPr/>
            </p:nvSpPr>
            <p:spPr bwMode="auto">
              <a:xfrm>
                <a:off x="5114954" y="1353270"/>
                <a:ext cx="328459" cy="236391"/>
              </a:xfrm>
              <a:custGeom>
                <a:avLst/>
                <a:gdLst>
                  <a:gd name="connsiteX0" fmla="*/ 419100 w 419100"/>
                  <a:gd name="connsiteY0" fmla="*/ 0 h 301625"/>
                  <a:gd name="connsiteX1" fmla="*/ 377825 w 419100"/>
                  <a:gd name="connsiteY1" fmla="*/ 41275 h 301625"/>
                  <a:gd name="connsiteX2" fmla="*/ 257175 w 419100"/>
                  <a:gd name="connsiteY2" fmla="*/ 69850 h 301625"/>
                  <a:gd name="connsiteX3" fmla="*/ 200025 w 419100"/>
                  <a:gd name="connsiteY3" fmla="*/ 117475 h 301625"/>
                  <a:gd name="connsiteX4" fmla="*/ 152400 w 419100"/>
                  <a:gd name="connsiteY4" fmla="*/ 130175 h 301625"/>
                  <a:gd name="connsiteX5" fmla="*/ 114300 w 419100"/>
                  <a:gd name="connsiteY5" fmla="*/ 177800 h 301625"/>
                  <a:gd name="connsiteX6" fmla="*/ 101600 w 419100"/>
                  <a:gd name="connsiteY6" fmla="*/ 225425 h 301625"/>
                  <a:gd name="connsiteX7" fmla="*/ 85725 w 419100"/>
                  <a:gd name="connsiteY7" fmla="*/ 250825 h 301625"/>
                  <a:gd name="connsiteX8" fmla="*/ 123825 w 419100"/>
                  <a:gd name="connsiteY8" fmla="*/ 282575 h 301625"/>
                  <a:gd name="connsiteX9" fmla="*/ 152400 w 419100"/>
                  <a:gd name="connsiteY9" fmla="*/ 298450 h 301625"/>
                  <a:gd name="connsiteX10" fmla="*/ 85725 w 419100"/>
                  <a:gd name="connsiteY10" fmla="*/ 301625 h 301625"/>
                  <a:gd name="connsiteX11" fmla="*/ 47625 w 419100"/>
                  <a:gd name="connsiteY11" fmla="*/ 282575 h 301625"/>
                  <a:gd name="connsiteX12" fmla="*/ 57150 w 419100"/>
                  <a:gd name="connsiteY12" fmla="*/ 257175 h 301625"/>
                  <a:gd name="connsiteX13" fmla="*/ 28575 w 419100"/>
                  <a:gd name="connsiteY13" fmla="*/ 244475 h 301625"/>
                  <a:gd name="connsiteX14" fmla="*/ 0 w 419100"/>
                  <a:gd name="connsiteY14" fmla="*/ 231775 h 301625"/>
                  <a:gd name="connsiteX15" fmla="*/ 22225 w 419100"/>
                  <a:gd name="connsiteY15" fmla="*/ 206375 h 301625"/>
                  <a:gd name="connsiteX16" fmla="*/ 22225 w 419100"/>
                  <a:gd name="connsiteY16" fmla="*/ 206375 h 301625"/>
                  <a:gd name="connsiteX17" fmla="*/ 53975 w 419100"/>
                  <a:gd name="connsiteY17" fmla="*/ 184150 h 301625"/>
                  <a:gd name="connsiteX18" fmla="*/ 92075 w 419100"/>
                  <a:gd name="connsiteY18" fmla="*/ 158750 h 301625"/>
                  <a:gd name="connsiteX19" fmla="*/ 76200 w 419100"/>
                  <a:gd name="connsiteY19" fmla="*/ 136525 h 301625"/>
                  <a:gd name="connsiteX20" fmla="*/ 146050 w 419100"/>
                  <a:gd name="connsiteY20" fmla="*/ 85725 h 301625"/>
                  <a:gd name="connsiteX21" fmla="*/ 171450 w 419100"/>
                  <a:gd name="connsiteY21" fmla="*/ 53975 h 301625"/>
                  <a:gd name="connsiteX22" fmla="*/ 254000 w 419100"/>
                  <a:gd name="connsiteY22" fmla="*/ 38100 h 301625"/>
                  <a:gd name="connsiteX23" fmla="*/ 320675 w 419100"/>
                  <a:gd name="connsiteY23" fmla="*/ 31750 h 301625"/>
                  <a:gd name="connsiteX24" fmla="*/ 368300 w 419100"/>
                  <a:gd name="connsiteY24" fmla="*/ 12700 h 301625"/>
                  <a:gd name="connsiteX25" fmla="*/ 419100 w 419100"/>
                  <a:gd name="connsiteY25" fmla="*/ 0 h 30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19100" h="301625">
                    <a:moveTo>
                      <a:pt x="419100" y="0"/>
                    </a:moveTo>
                    <a:lnTo>
                      <a:pt x="377825" y="41275"/>
                    </a:lnTo>
                    <a:lnTo>
                      <a:pt x="257175" y="69850"/>
                    </a:lnTo>
                    <a:lnTo>
                      <a:pt x="200025" y="117475"/>
                    </a:lnTo>
                    <a:lnTo>
                      <a:pt x="152400" y="130175"/>
                    </a:lnTo>
                    <a:lnTo>
                      <a:pt x="114300" y="177800"/>
                    </a:lnTo>
                    <a:lnTo>
                      <a:pt x="101600" y="225425"/>
                    </a:lnTo>
                    <a:lnTo>
                      <a:pt x="85725" y="250825"/>
                    </a:lnTo>
                    <a:lnTo>
                      <a:pt x="123825" y="282575"/>
                    </a:lnTo>
                    <a:lnTo>
                      <a:pt x="152400" y="298450"/>
                    </a:lnTo>
                    <a:lnTo>
                      <a:pt x="85725" y="301625"/>
                    </a:lnTo>
                    <a:lnTo>
                      <a:pt x="47625" y="282575"/>
                    </a:lnTo>
                    <a:lnTo>
                      <a:pt x="57150" y="257175"/>
                    </a:lnTo>
                    <a:lnTo>
                      <a:pt x="28575" y="244475"/>
                    </a:lnTo>
                    <a:lnTo>
                      <a:pt x="0" y="231775"/>
                    </a:lnTo>
                    <a:lnTo>
                      <a:pt x="22225" y="206375"/>
                    </a:lnTo>
                    <a:lnTo>
                      <a:pt x="22225" y="206375"/>
                    </a:lnTo>
                    <a:lnTo>
                      <a:pt x="53975" y="184150"/>
                    </a:lnTo>
                    <a:lnTo>
                      <a:pt x="92075" y="158750"/>
                    </a:lnTo>
                    <a:lnTo>
                      <a:pt x="76200" y="136525"/>
                    </a:lnTo>
                    <a:lnTo>
                      <a:pt x="146050" y="85725"/>
                    </a:lnTo>
                    <a:lnTo>
                      <a:pt x="171450" y="53975"/>
                    </a:lnTo>
                    <a:lnTo>
                      <a:pt x="254000" y="38100"/>
                    </a:lnTo>
                    <a:lnTo>
                      <a:pt x="320675" y="31750"/>
                    </a:lnTo>
                    <a:lnTo>
                      <a:pt x="368300" y="12700"/>
                    </a:lnTo>
                    <a:lnTo>
                      <a:pt x="41910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7" name="Friform 55"/>
              <p:cNvSpPr/>
              <p:nvPr/>
            </p:nvSpPr>
            <p:spPr bwMode="auto">
              <a:xfrm>
                <a:off x="6411373" y="2726827"/>
                <a:ext cx="47278" cy="94556"/>
              </a:xfrm>
              <a:custGeom>
                <a:avLst/>
                <a:gdLst>
                  <a:gd name="connsiteX0" fmla="*/ 60325 w 60325"/>
                  <a:gd name="connsiteY0" fmla="*/ 0 h 120650"/>
                  <a:gd name="connsiteX1" fmla="*/ 12700 w 60325"/>
                  <a:gd name="connsiteY1" fmla="*/ 28575 h 120650"/>
                  <a:gd name="connsiteX2" fmla="*/ 0 w 60325"/>
                  <a:gd name="connsiteY2" fmla="*/ 82550 h 120650"/>
                  <a:gd name="connsiteX3" fmla="*/ 12700 w 60325"/>
                  <a:gd name="connsiteY3" fmla="*/ 120650 h 120650"/>
                  <a:gd name="connsiteX4" fmla="*/ 38100 w 60325"/>
                  <a:gd name="connsiteY4" fmla="*/ 85725 h 120650"/>
                  <a:gd name="connsiteX5" fmla="*/ 60325 w 60325"/>
                  <a:gd name="connsiteY5" fmla="*/ 0 h 1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25" h="120650">
                    <a:moveTo>
                      <a:pt x="60325" y="0"/>
                    </a:moveTo>
                    <a:lnTo>
                      <a:pt x="12700" y="28575"/>
                    </a:lnTo>
                    <a:lnTo>
                      <a:pt x="0" y="82550"/>
                    </a:lnTo>
                    <a:lnTo>
                      <a:pt x="12700" y="120650"/>
                    </a:lnTo>
                    <a:lnTo>
                      <a:pt x="38100" y="85725"/>
                    </a:lnTo>
                    <a:lnTo>
                      <a:pt x="60325"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8" name="Friform 56"/>
              <p:cNvSpPr/>
              <p:nvPr/>
            </p:nvSpPr>
            <p:spPr bwMode="auto">
              <a:xfrm>
                <a:off x="6632834" y="3231958"/>
                <a:ext cx="380714" cy="196578"/>
              </a:xfrm>
              <a:custGeom>
                <a:avLst/>
                <a:gdLst>
                  <a:gd name="connsiteX0" fmla="*/ 177800 w 485775"/>
                  <a:gd name="connsiteY0" fmla="*/ 31750 h 250825"/>
                  <a:gd name="connsiteX1" fmla="*/ 104775 w 485775"/>
                  <a:gd name="connsiteY1" fmla="*/ 31750 h 250825"/>
                  <a:gd name="connsiteX2" fmla="*/ 47625 w 485775"/>
                  <a:gd name="connsiteY2" fmla="*/ 0 h 250825"/>
                  <a:gd name="connsiteX3" fmla="*/ 0 w 485775"/>
                  <a:gd name="connsiteY3" fmla="*/ 3175 h 250825"/>
                  <a:gd name="connsiteX4" fmla="*/ 60325 w 485775"/>
                  <a:gd name="connsiteY4" fmla="*/ 47625 h 250825"/>
                  <a:gd name="connsiteX5" fmla="*/ 146050 w 485775"/>
                  <a:gd name="connsiteY5" fmla="*/ 79375 h 250825"/>
                  <a:gd name="connsiteX6" fmla="*/ 165100 w 485775"/>
                  <a:gd name="connsiteY6" fmla="*/ 130175 h 250825"/>
                  <a:gd name="connsiteX7" fmla="*/ 231775 w 485775"/>
                  <a:gd name="connsiteY7" fmla="*/ 187325 h 250825"/>
                  <a:gd name="connsiteX8" fmla="*/ 327025 w 485775"/>
                  <a:gd name="connsiteY8" fmla="*/ 206375 h 250825"/>
                  <a:gd name="connsiteX9" fmla="*/ 317500 w 485775"/>
                  <a:gd name="connsiteY9" fmla="*/ 161925 h 250825"/>
                  <a:gd name="connsiteX10" fmla="*/ 374650 w 485775"/>
                  <a:gd name="connsiteY10" fmla="*/ 187325 h 250825"/>
                  <a:gd name="connsiteX11" fmla="*/ 406400 w 485775"/>
                  <a:gd name="connsiteY11" fmla="*/ 215900 h 250825"/>
                  <a:gd name="connsiteX12" fmla="*/ 485775 w 485775"/>
                  <a:gd name="connsiteY12" fmla="*/ 250825 h 250825"/>
                  <a:gd name="connsiteX13" fmla="*/ 441325 w 485775"/>
                  <a:gd name="connsiteY13" fmla="*/ 196850 h 250825"/>
                  <a:gd name="connsiteX14" fmla="*/ 368300 w 485775"/>
                  <a:gd name="connsiteY14" fmla="*/ 136525 h 250825"/>
                  <a:gd name="connsiteX15" fmla="*/ 349250 w 485775"/>
                  <a:gd name="connsiteY15" fmla="*/ 85725 h 250825"/>
                  <a:gd name="connsiteX16" fmla="*/ 177800 w 485775"/>
                  <a:gd name="connsiteY16" fmla="*/ 31750 h 250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5775" h="250825">
                    <a:moveTo>
                      <a:pt x="177800" y="31750"/>
                    </a:moveTo>
                    <a:lnTo>
                      <a:pt x="104775" y="31750"/>
                    </a:lnTo>
                    <a:lnTo>
                      <a:pt x="47625" y="0"/>
                    </a:lnTo>
                    <a:lnTo>
                      <a:pt x="0" y="3175"/>
                    </a:lnTo>
                    <a:lnTo>
                      <a:pt x="60325" y="47625"/>
                    </a:lnTo>
                    <a:lnTo>
                      <a:pt x="146050" y="79375"/>
                    </a:lnTo>
                    <a:lnTo>
                      <a:pt x="165100" y="130175"/>
                    </a:lnTo>
                    <a:lnTo>
                      <a:pt x="231775" y="187325"/>
                    </a:lnTo>
                    <a:lnTo>
                      <a:pt x="327025" y="206375"/>
                    </a:lnTo>
                    <a:lnTo>
                      <a:pt x="317500" y="161925"/>
                    </a:lnTo>
                    <a:lnTo>
                      <a:pt x="374650" y="187325"/>
                    </a:lnTo>
                    <a:lnTo>
                      <a:pt x="406400" y="215900"/>
                    </a:lnTo>
                    <a:lnTo>
                      <a:pt x="485775" y="250825"/>
                    </a:lnTo>
                    <a:lnTo>
                      <a:pt x="441325" y="196850"/>
                    </a:lnTo>
                    <a:lnTo>
                      <a:pt x="368300" y="136525"/>
                    </a:lnTo>
                    <a:lnTo>
                      <a:pt x="349250" y="85725"/>
                    </a:lnTo>
                    <a:lnTo>
                      <a:pt x="177800" y="3175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19" name="Friform 57"/>
              <p:cNvSpPr/>
              <p:nvPr/>
            </p:nvSpPr>
            <p:spPr bwMode="auto">
              <a:xfrm>
                <a:off x="6085055" y="3176520"/>
                <a:ext cx="74997" cy="45831"/>
              </a:xfrm>
              <a:custGeom>
                <a:avLst/>
                <a:gdLst>
                  <a:gd name="connsiteX0" fmla="*/ 0 w 95693"/>
                  <a:gd name="connsiteY0" fmla="*/ 0 h 58479"/>
                  <a:gd name="connsiteX1" fmla="*/ 63795 w 95693"/>
                  <a:gd name="connsiteY1" fmla="*/ 31898 h 58479"/>
                  <a:gd name="connsiteX2" fmla="*/ 95693 w 95693"/>
                  <a:gd name="connsiteY2" fmla="*/ 58479 h 58479"/>
                  <a:gd name="connsiteX3" fmla="*/ 37214 w 95693"/>
                  <a:gd name="connsiteY3" fmla="*/ 53163 h 58479"/>
                  <a:gd name="connsiteX4" fmla="*/ 0 w 95693"/>
                  <a:gd name="connsiteY4" fmla="*/ 0 h 584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693" h="58479">
                    <a:moveTo>
                      <a:pt x="0" y="0"/>
                    </a:moveTo>
                    <a:lnTo>
                      <a:pt x="63795" y="31898"/>
                    </a:lnTo>
                    <a:lnTo>
                      <a:pt x="95693" y="58479"/>
                    </a:lnTo>
                    <a:lnTo>
                      <a:pt x="37214" y="53163"/>
                    </a:lnTo>
                    <a:lnTo>
                      <a:pt x="0" y="0"/>
                    </a:lnTo>
                    <a:close/>
                  </a:path>
                </a:pathLst>
              </a:cu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sp>
            <p:nvSpPr>
              <p:cNvPr id="320" name="Ellipse 58"/>
              <p:cNvSpPr/>
              <p:nvPr/>
            </p:nvSpPr>
            <p:spPr bwMode="auto">
              <a:xfrm>
                <a:off x="6099693" y="3173172"/>
                <a:ext cx="45720" cy="45720"/>
              </a:xfrm>
              <a:prstGeom prst="ellipse">
                <a:avLst/>
              </a:prstGeom>
              <a:grp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nb-NO" sz="1200" b="0" i="0" u="none" strike="noStrike" cap="none" normalizeH="0" baseline="0" dirty="0">
                  <a:ln>
                    <a:noFill/>
                  </a:ln>
                  <a:solidFill>
                    <a:srgbClr val="000000"/>
                  </a:solidFill>
                  <a:effectLst/>
                  <a:ea typeface="ヒラギノ角ゴ ProN W3" charset="0"/>
                  <a:cs typeface="Segoe UI"/>
                  <a:sym typeface="Gill Sans" charset="0"/>
                </a:endParaRPr>
              </a:p>
            </p:txBody>
          </p:sp>
        </p:grpSp>
      </p:grpSp>
      <p:sp>
        <p:nvSpPr>
          <p:cNvPr id="349" name="TekstSylinder 107"/>
          <p:cNvSpPr txBox="1"/>
          <p:nvPr/>
        </p:nvSpPr>
        <p:spPr>
          <a:xfrm>
            <a:off x="4591915" y="1801184"/>
            <a:ext cx="385042" cy="200055"/>
          </a:xfrm>
          <a:prstGeom prst="rect">
            <a:avLst/>
          </a:prstGeom>
          <a:noFill/>
        </p:spPr>
        <p:txBody>
          <a:bodyPr wrap="none" rtlCol="0">
            <a:spAutoFit/>
          </a:bodyPr>
          <a:lstStyle/>
          <a:p>
            <a:r>
              <a:rPr lang="nb-NO" sz="700" b="1" dirty="0">
                <a:solidFill>
                  <a:srgbClr val="FF5400"/>
                </a:solidFill>
                <a:ea typeface="Segoe UI Semibold" charset="0"/>
                <a:cs typeface="Segoe UI Semibold" charset="0"/>
              </a:rPr>
              <a:t>Oslo</a:t>
            </a:r>
          </a:p>
        </p:txBody>
      </p:sp>
      <p:sp>
        <p:nvSpPr>
          <p:cNvPr id="351" name="TekstSylinder 109"/>
          <p:cNvSpPr txBox="1"/>
          <p:nvPr/>
        </p:nvSpPr>
        <p:spPr>
          <a:xfrm>
            <a:off x="4019678" y="2065529"/>
            <a:ext cx="511679" cy="200055"/>
          </a:xfrm>
          <a:prstGeom prst="rect">
            <a:avLst/>
          </a:prstGeom>
          <a:noFill/>
        </p:spPr>
        <p:txBody>
          <a:bodyPr wrap="none" rtlCol="0">
            <a:spAutoFit/>
          </a:bodyPr>
          <a:lstStyle/>
          <a:p>
            <a:r>
              <a:rPr lang="nb-NO" sz="700" b="1" dirty="0">
                <a:solidFill>
                  <a:srgbClr val="FF5400"/>
                </a:solidFill>
                <a:ea typeface="Segoe UI Semibold" charset="0"/>
                <a:cs typeface="Segoe UI Semibold" charset="0"/>
              </a:rPr>
              <a:t>London</a:t>
            </a:r>
          </a:p>
        </p:txBody>
      </p:sp>
      <p:sp>
        <p:nvSpPr>
          <p:cNvPr id="352" name="TekstSylinder 110"/>
          <p:cNvSpPr txBox="1"/>
          <p:nvPr/>
        </p:nvSpPr>
        <p:spPr>
          <a:xfrm>
            <a:off x="4864368" y="2537077"/>
            <a:ext cx="487634" cy="200055"/>
          </a:xfrm>
          <a:prstGeom prst="rect">
            <a:avLst/>
          </a:prstGeom>
          <a:noFill/>
        </p:spPr>
        <p:txBody>
          <a:bodyPr wrap="none" rtlCol="0">
            <a:spAutoFit/>
          </a:bodyPr>
          <a:lstStyle/>
          <a:p>
            <a:r>
              <a:rPr lang="nb-NO" sz="700" b="1" dirty="0">
                <a:solidFill>
                  <a:schemeClr val="bg1"/>
                </a:solidFill>
                <a:ea typeface="Segoe UI Semibold" charset="0"/>
                <a:cs typeface="Segoe UI Semibold" charset="0"/>
              </a:rPr>
              <a:t>Athens</a:t>
            </a:r>
          </a:p>
        </p:txBody>
      </p:sp>
      <p:sp>
        <p:nvSpPr>
          <p:cNvPr id="353" name="TekstSylinder 112"/>
          <p:cNvSpPr txBox="1"/>
          <p:nvPr/>
        </p:nvSpPr>
        <p:spPr>
          <a:xfrm>
            <a:off x="5140212" y="1933038"/>
            <a:ext cx="529312" cy="200055"/>
          </a:xfrm>
          <a:prstGeom prst="rect">
            <a:avLst/>
          </a:prstGeom>
          <a:noFill/>
        </p:spPr>
        <p:txBody>
          <a:bodyPr wrap="none" rtlCol="0">
            <a:spAutoFit/>
          </a:bodyPr>
          <a:lstStyle/>
          <a:p>
            <a:r>
              <a:rPr lang="nb-NO" sz="700" b="1" dirty="0">
                <a:solidFill>
                  <a:schemeClr val="bg1"/>
                </a:solidFill>
                <a:ea typeface="Segoe UI Semibold" charset="0"/>
                <a:cs typeface="Segoe UI Semibold" charset="0"/>
              </a:rPr>
              <a:t>Helsinki</a:t>
            </a:r>
          </a:p>
        </p:txBody>
      </p:sp>
      <p:sp>
        <p:nvSpPr>
          <p:cNvPr id="354" name="TekstSylinder 113"/>
          <p:cNvSpPr txBox="1"/>
          <p:nvPr/>
        </p:nvSpPr>
        <p:spPr>
          <a:xfrm>
            <a:off x="5051522" y="2153183"/>
            <a:ext cx="524503" cy="200055"/>
          </a:xfrm>
          <a:prstGeom prst="rect">
            <a:avLst/>
          </a:prstGeom>
          <a:noFill/>
        </p:spPr>
        <p:txBody>
          <a:bodyPr wrap="none" rtlCol="0">
            <a:spAutoFit/>
          </a:bodyPr>
          <a:lstStyle/>
          <a:p>
            <a:r>
              <a:rPr lang="nb-NO" sz="700" b="1" dirty="0">
                <a:solidFill>
                  <a:srgbClr val="FF9D73"/>
                </a:solidFill>
                <a:ea typeface="Segoe UI Semibold" charset="0"/>
                <a:cs typeface="Segoe UI Semibold" charset="0"/>
              </a:rPr>
              <a:t>Warsaw</a:t>
            </a:r>
          </a:p>
        </p:txBody>
      </p:sp>
      <p:cxnSp>
        <p:nvCxnSpPr>
          <p:cNvPr id="355" name="Vinkel 117"/>
          <p:cNvCxnSpPr/>
          <p:nvPr/>
        </p:nvCxnSpPr>
        <p:spPr bwMode="auto">
          <a:xfrm rot="10800000">
            <a:off x="4416531" y="1965742"/>
            <a:ext cx="394376" cy="148725"/>
          </a:xfrm>
          <a:prstGeom prst="bentConnector3">
            <a:avLst>
              <a:gd name="adj1" fmla="val 37924"/>
            </a:avLst>
          </a:prstGeom>
          <a:blipFill dpi="0" rotWithShape="0">
            <a:blip r:embed="rId3"/>
            <a:srcRect/>
            <a:tile tx="0" ty="0" sx="100000" sy="100000" flip="none" algn="tl"/>
          </a:blipFill>
          <a:ln w="9525" cap="flat" cmpd="sng" algn="ctr">
            <a:solidFill>
              <a:srgbClr val="FFFF7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56" name="TekstSylinder 118"/>
          <p:cNvSpPr txBox="1"/>
          <p:nvPr/>
        </p:nvSpPr>
        <p:spPr>
          <a:xfrm>
            <a:off x="3817003" y="1839950"/>
            <a:ext cx="724878" cy="200055"/>
          </a:xfrm>
          <a:prstGeom prst="rect">
            <a:avLst/>
          </a:prstGeom>
          <a:noFill/>
        </p:spPr>
        <p:txBody>
          <a:bodyPr wrap="none" rtlCol="0">
            <a:spAutoFit/>
          </a:bodyPr>
          <a:lstStyle/>
          <a:p>
            <a:r>
              <a:rPr lang="nb-NO" sz="700" b="1" dirty="0">
                <a:solidFill>
                  <a:srgbClr val="FFFF00"/>
                </a:solidFill>
                <a:ea typeface="Segoe UI Semibold" charset="0"/>
                <a:cs typeface="Segoe UI Semibold" charset="0"/>
              </a:rPr>
              <a:t>Copenhagen</a:t>
            </a:r>
          </a:p>
        </p:txBody>
      </p:sp>
      <p:cxnSp>
        <p:nvCxnSpPr>
          <p:cNvPr id="357" name="Vinkel 119"/>
          <p:cNvCxnSpPr/>
          <p:nvPr/>
        </p:nvCxnSpPr>
        <p:spPr bwMode="auto">
          <a:xfrm rot="10800000" flipV="1">
            <a:off x="4555065" y="2224299"/>
            <a:ext cx="252206" cy="117034"/>
          </a:xfrm>
          <a:prstGeom prst="bentConnector3">
            <a:avLst>
              <a:gd name="adj1" fmla="val 50000"/>
            </a:avLst>
          </a:prstGeom>
          <a:blipFill dpi="0" rotWithShape="0">
            <a:blip r:embed="rId3"/>
            <a:srcRect/>
            <a:tile tx="0" ty="0" sx="100000" sy="100000" flip="none" algn="tl"/>
          </a:blipFill>
          <a:ln w="9525" cap="flat" cmpd="sng" algn="ctr">
            <a:solidFill>
              <a:srgbClr val="FFFF7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58" name="TekstSylinder 120"/>
          <p:cNvSpPr txBox="1"/>
          <p:nvPr/>
        </p:nvSpPr>
        <p:spPr>
          <a:xfrm>
            <a:off x="4091248" y="2226385"/>
            <a:ext cx="572593" cy="200055"/>
          </a:xfrm>
          <a:prstGeom prst="rect">
            <a:avLst/>
          </a:prstGeom>
          <a:noFill/>
        </p:spPr>
        <p:txBody>
          <a:bodyPr wrap="none" rtlCol="0">
            <a:spAutoFit/>
          </a:bodyPr>
          <a:lstStyle>
            <a:defPPr>
              <a:defRPr lang="nb-NO"/>
            </a:defPPr>
            <a:lvl1pPr>
              <a:defRPr sz="700" b="1">
                <a:solidFill>
                  <a:srgbClr val="FFFF00"/>
                </a:solidFill>
                <a:ea typeface="Segoe UI Semibold" charset="0"/>
                <a:cs typeface="Segoe UI Semibold" charset="0"/>
              </a:defRPr>
            </a:lvl1pPr>
          </a:lstStyle>
          <a:p>
            <a:r>
              <a:rPr lang="nb-NO" dirty="0"/>
              <a:t>Hamburg</a:t>
            </a:r>
          </a:p>
        </p:txBody>
      </p:sp>
      <p:cxnSp>
        <p:nvCxnSpPr>
          <p:cNvPr id="359" name="Vinkel 121"/>
          <p:cNvCxnSpPr/>
          <p:nvPr/>
        </p:nvCxnSpPr>
        <p:spPr bwMode="auto">
          <a:xfrm rot="16200000" flipH="1">
            <a:off x="4754379" y="1842594"/>
            <a:ext cx="301042" cy="50192"/>
          </a:xfrm>
          <a:prstGeom prst="bentConnector3">
            <a:avLst/>
          </a:prstGeom>
          <a:blipFill dpi="0" rotWithShape="0">
            <a:blip r:embed="rId3"/>
            <a:srcRect/>
            <a:tile tx="0" ty="0" sx="100000" sy="100000" flip="none" algn="tl"/>
          </a:blipFill>
          <a:ln w="9525" cap="flat" cmpd="sng" algn="ctr">
            <a:solidFill>
              <a:srgbClr val="FFFF7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60" name="TekstSylinder 122"/>
          <p:cNvSpPr txBox="1"/>
          <p:nvPr/>
        </p:nvSpPr>
        <p:spPr>
          <a:xfrm>
            <a:off x="4466994" y="1576075"/>
            <a:ext cx="697627" cy="200055"/>
          </a:xfrm>
          <a:prstGeom prst="rect">
            <a:avLst/>
          </a:prstGeom>
          <a:noFill/>
        </p:spPr>
        <p:txBody>
          <a:bodyPr wrap="none" rtlCol="0">
            <a:spAutoFit/>
          </a:bodyPr>
          <a:lstStyle>
            <a:defPPr>
              <a:defRPr lang="nb-NO"/>
            </a:defPPr>
            <a:lvl1pPr>
              <a:defRPr sz="700" b="1">
                <a:solidFill>
                  <a:srgbClr val="FFFF00"/>
                </a:solidFill>
                <a:ea typeface="Segoe UI Semibold" charset="0"/>
                <a:cs typeface="Segoe UI Semibold" charset="0"/>
              </a:defRPr>
            </a:lvl1pPr>
          </a:lstStyle>
          <a:p>
            <a:r>
              <a:rPr lang="nb-NO" dirty="0"/>
              <a:t>Gothenburg</a:t>
            </a:r>
          </a:p>
        </p:txBody>
      </p:sp>
      <p:sp>
        <p:nvSpPr>
          <p:cNvPr id="361" name="TekstSylinder 123"/>
          <p:cNvSpPr txBox="1"/>
          <p:nvPr/>
        </p:nvSpPr>
        <p:spPr>
          <a:xfrm>
            <a:off x="5055327" y="1786567"/>
            <a:ext cx="643125" cy="200055"/>
          </a:xfrm>
          <a:prstGeom prst="rect">
            <a:avLst/>
          </a:prstGeom>
          <a:noFill/>
        </p:spPr>
        <p:txBody>
          <a:bodyPr wrap="none" rtlCol="0">
            <a:spAutoFit/>
          </a:bodyPr>
          <a:lstStyle/>
          <a:p>
            <a:r>
              <a:rPr lang="nb-NO" sz="700" b="1" dirty="0">
                <a:solidFill>
                  <a:srgbClr val="FF9D73"/>
                </a:solidFill>
                <a:ea typeface="Segoe UI Semibold" charset="0"/>
                <a:cs typeface="Segoe UI Semibold" charset="0"/>
              </a:rPr>
              <a:t>Stockholm</a:t>
            </a:r>
          </a:p>
        </p:txBody>
      </p:sp>
      <p:sp>
        <p:nvSpPr>
          <p:cNvPr id="362" name="TekstSylinder 124"/>
          <p:cNvSpPr txBox="1"/>
          <p:nvPr/>
        </p:nvSpPr>
        <p:spPr>
          <a:xfrm>
            <a:off x="3126273" y="2462207"/>
            <a:ext cx="593432" cy="200055"/>
          </a:xfrm>
          <a:prstGeom prst="rect">
            <a:avLst/>
          </a:prstGeom>
          <a:noFill/>
        </p:spPr>
        <p:txBody>
          <a:bodyPr wrap="none" rtlCol="0">
            <a:spAutoFit/>
          </a:bodyPr>
          <a:lstStyle/>
          <a:p>
            <a:r>
              <a:rPr lang="nb-NO" sz="700" b="1" dirty="0">
                <a:solidFill>
                  <a:srgbClr val="FF9D73"/>
                </a:solidFill>
                <a:ea typeface="Segoe UI Semibold" charset="0"/>
                <a:cs typeface="Segoe UI Semibold" charset="0"/>
              </a:rPr>
              <a:t>New York</a:t>
            </a:r>
          </a:p>
        </p:txBody>
      </p:sp>
      <p:sp>
        <p:nvSpPr>
          <p:cNvPr id="364" name="TekstSylinder 126"/>
          <p:cNvSpPr txBox="1"/>
          <p:nvPr/>
        </p:nvSpPr>
        <p:spPr>
          <a:xfrm>
            <a:off x="3682787" y="3789854"/>
            <a:ext cx="813043" cy="200055"/>
          </a:xfrm>
          <a:prstGeom prst="rect">
            <a:avLst/>
          </a:prstGeom>
          <a:noFill/>
        </p:spPr>
        <p:txBody>
          <a:bodyPr wrap="none" rtlCol="0">
            <a:spAutoFit/>
          </a:bodyPr>
          <a:lstStyle>
            <a:defPPr>
              <a:defRPr lang="nb-NO"/>
            </a:defPPr>
            <a:lvl1pPr>
              <a:defRPr sz="700" b="1">
                <a:solidFill>
                  <a:srgbClr val="FFFF00"/>
                </a:solidFill>
                <a:ea typeface="Segoe UI Semibold" charset="0"/>
                <a:cs typeface="Segoe UI Semibold" charset="0"/>
              </a:defRPr>
            </a:lvl1pPr>
          </a:lstStyle>
          <a:p>
            <a:r>
              <a:rPr lang="nb-NO" dirty="0"/>
              <a:t>Rio De Janeiro</a:t>
            </a:r>
          </a:p>
        </p:txBody>
      </p:sp>
      <p:sp>
        <p:nvSpPr>
          <p:cNvPr id="365" name="TekstSylinder 127"/>
          <p:cNvSpPr txBox="1"/>
          <p:nvPr/>
        </p:nvSpPr>
        <p:spPr>
          <a:xfrm>
            <a:off x="2568633" y="4045318"/>
            <a:ext cx="562975" cy="200055"/>
          </a:xfrm>
          <a:prstGeom prst="rect">
            <a:avLst/>
          </a:prstGeom>
          <a:noFill/>
        </p:spPr>
        <p:txBody>
          <a:bodyPr wrap="none" rtlCol="0">
            <a:spAutoFit/>
          </a:bodyPr>
          <a:lstStyle/>
          <a:p>
            <a:r>
              <a:rPr lang="nb-NO" sz="700" b="1" dirty="0">
                <a:solidFill>
                  <a:srgbClr val="FF9D73"/>
                </a:solidFill>
                <a:ea typeface="Segoe UI Semibold" charset="0"/>
                <a:cs typeface="Segoe UI Semibold" charset="0"/>
              </a:rPr>
              <a:t>Santiago</a:t>
            </a:r>
          </a:p>
        </p:txBody>
      </p:sp>
      <p:sp>
        <p:nvSpPr>
          <p:cNvPr id="366" name="TekstSylinder 128"/>
          <p:cNvSpPr txBox="1"/>
          <p:nvPr/>
        </p:nvSpPr>
        <p:spPr>
          <a:xfrm>
            <a:off x="7079503" y="2707008"/>
            <a:ext cx="587020" cy="200055"/>
          </a:xfrm>
          <a:prstGeom prst="rect">
            <a:avLst/>
          </a:prstGeom>
          <a:noFill/>
        </p:spPr>
        <p:txBody>
          <a:bodyPr wrap="none" rtlCol="0">
            <a:spAutoFit/>
          </a:bodyPr>
          <a:lstStyle>
            <a:defPPr>
              <a:defRPr lang="nb-NO"/>
            </a:defPPr>
            <a:lvl1pPr>
              <a:defRPr sz="700" b="1">
                <a:solidFill>
                  <a:srgbClr val="FFFF00"/>
                </a:solidFill>
                <a:ea typeface="Segoe UI Semibold" charset="0"/>
                <a:cs typeface="Segoe UI Semibold" charset="0"/>
              </a:defRPr>
            </a:lvl1pPr>
          </a:lstStyle>
          <a:p>
            <a:r>
              <a:rPr lang="nb-NO" dirty="0"/>
              <a:t>Shanghai</a:t>
            </a:r>
          </a:p>
        </p:txBody>
      </p:sp>
      <p:sp>
        <p:nvSpPr>
          <p:cNvPr id="367" name="TekstSylinder 129"/>
          <p:cNvSpPr txBox="1"/>
          <p:nvPr/>
        </p:nvSpPr>
        <p:spPr>
          <a:xfrm>
            <a:off x="6706933" y="3333735"/>
            <a:ext cx="622286" cy="200055"/>
          </a:xfrm>
          <a:prstGeom prst="rect">
            <a:avLst/>
          </a:prstGeom>
          <a:noFill/>
        </p:spPr>
        <p:txBody>
          <a:bodyPr wrap="none" rtlCol="0">
            <a:spAutoFit/>
          </a:bodyPr>
          <a:lstStyle/>
          <a:p>
            <a:r>
              <a:rPr lang="nb-NO" sz="700" b="1" dirty="0">
                <a:solidFill>
                  <a:srgbClr val="FF9D73"/>
                </a:solidFill>
                <a:ea typeface="Segoe UI Semibold" charset="0"/>
                <a:cs typeface="Segoe UI Semibold" charset="0"/>
              </a:rPr>
              <a:t>Singapore</a:t>
            </a:r>
          </a:p>
        </p:txBody>
      </p:sp>
      <p:sp>
        <p:nvSpPr>
          <p:cNvPr id="368" name="TekstSylinder 130"/>
          <p:cNvSpPr txBox="1"/>
          <p:nvPr/>
        </p:nvSpPr>
        <p:spPr>
          <a:xfrm>
            <a:off x="5648685" y="2918631"/>
            <a:ext cx="526106" cy="200055"/>
          </a:xfrm>
          <a:prstGeom prst="rect">
            <a:avLst/>
          </a:prstGeom>
          <a:noFill/>
        </p:spPr>
        <p:txBody>
          <a:bodyPr wrap="none" rtlCol="0">
            <a:spAutoFit/>
          </a:bodyPr>
          <a:lstStyle>
            <a:defPPr>
              <a:defRPr lang="nb-NO"/>
            </a:defPPr>
            <a:lvl1pPr>
              <a:defRPr sz="700" b="1">
                <a:solidFill>
                  <a:srgbClr val="FFFF00"/>
                </a:solidFill>
                <a:ea typeface="Segoe UI Semibold" charset="0"/>
                <a:cs typeface="Segoe UI Semibold" charset="0"/>
              </a:defRPr>
            </a:lvl1pPr>
          </a:lstStyle>
          <a:p>
            <a:r>
              <a:rPr lang="nb-NO" dirty="0"/>
              <a:t>Mumbai</a:t>
            </a:r>
          </a:p>
        </p:txBody>
      </p:sp>
      <p:cxnSp>
        <p:nvCxnSpPr>
          <p:cNvPr id="369" name="Vinkel 131"/>
          <p:cNvCxnSpPr/>
          <p:nvPr/>
        </p:nvCxnSpPr>
        <p:spPr bwMode="auto">
          <a:xfrm rot="10800000">
            <a:off x="4416531" y="2175621"/>
            <a:ext cx="194386" cy="22936"/>
          </a:xfrm>
          <a:prstGeom prst="bentConnector3">
            <a:avLst/>
          </a:prstGeom>
          <a:blipFill dpi="0" rotWithShape="0">
            <a:blip r:embed="rId3"/>
            <a:srcRect/>
            <a:tile tx="0" ty="0" sx="100000" sy="100000" flip="none" algn="tl"/>
          </a:blipFill>
          <a:ln w="9525" cap="flat" cmpd="sng" algn="ctr">
            <a:solidFill>
              <a:srgbClr val="FFFF7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70" name="Vinkel 132"/>
          <p:cNvCxnSpPr/>
          <p:nvPr/>
        </p:nvCxnSpPr>
        <p:spPr bwMode="auto">
          <a:xfrm rot="10800000" flipV="1">
            <a:off x="4994675" y="1872603"/>
            <a:ext cx="152556" cy="143397"/>
          </a:xfrm>
          <a:prstGeom prst="bentConnector3">
            <a:avLst>
              <a:gd name="adj1" fmla="val 48260"/>
            </a:avLst>
          </a:prstGeom>
          <a:blipFill dpi="0" rotWithShape="0">
            <a:blip r:embed="rId3"/>
            <a:srcRect/>
            <a:tile tx="0" ty="0" sx="100000" sy="100000" flip="none" algn="tl"/>
          </a:blipFill>
          <a:ln w="9525" cap="flat" cmpd="sng" algn="ctr">
            <a:solidFill>
              <a:srgbClr val="FFFF7A"/>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371" name="Ellipse 133"/>
          <p:cNvSpPr/>
          <p:nvPr/>
        </p:nvSpPr>
        <p:spPr bwMode="auto">
          <a:xfrm>
            <a:off x="3118684" y="2472539"/>
            <a:ext cx="81262" cy="81262"/>
          </a:xfrm>
          <a:prstGeom prst="ellipse">
            <a:avLst/>
          </a:prstGeom>
          <a:solidFill>
            <a:srgbClr val="FFFF7A"/>
          </a:solidFill>
          <a:ln w="12700" cap="flat" cmpd="sng" algn="ctr">
            <a:solidFill>
              <a:srgbClr val="FF540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chemeClr val="bg1"/>
              </a:solidFill>
              <a:ea typeface="Segoe UI Semibold" charset="0"/>
              <a:cs typeface="Segoe UI Semibold" charset="0"/>
              <a:sym typeface="Gill Sans" charset="0"/>
            </a:endParaRPr>
          </a:p>
        </p:txBody>
      </p:sp>
      <p:sp>
        <p:nvSpPr>
          <p:cNvPr id="372" name="Ellipse 135"/>
          <p:cNvSpPr/>
          <p:nvPr/>
        </p:nvSpPr>
        <p:spPr bwMode="auto">
          <a:xfrm>
            <a:off x="3159315" y="4137324"/>
            <a:ext cx="81262" cy="81262"/>
          </a:xfrm>
          <a:prstGeom prst="ellipse">
            <a:avLst/>
          </a:prstGeom>
          <a:solidFill>
            <a:srgbClr val="FFFF7A"/>
          </a:solidFill>
          <a:ln w="12700" cap="flat" cmpd="sng" algn="ctr">
            <a:solidFill>
              <a:srgbClr val="FF540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chemeClr val="bg1"/>
              </a:solidFill>
              <a:ea typeface="Segoe UI Semibold" charset="0"/>
              <a:cs typeface="Segoe UI Semibold" charset="0"/>
              <a:sym typeface="Gill Sans" charset="0"/>
            </a:endParaRPr>
          </a:p>
        </p:txBody>
      </p:sp>
      <p:sp>
        <p:nvSpPr>
          <p:cNvPr id="373" name="Ellipse 136"/>
          <p:cNvSpPr/>
          <p:nvPr/>
        </p:nvSpPr>
        <p:spPr bwMode="auto">
          <a:xfrm>
            <a:off x="3688057" y="3848663"/>
            <a:ext cx="81262" cy="81262"/>
          </a:xfrm>
          <a:prstGeom prst="ellipse">
            <a:avLst/>
          </a:prstGeom>
          <a:solidFill>
            <a:srgbClr val="FFFF7A"/>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74" name="Ellipse 137"/>
          <p:cNvSpPr/>
          <p:nvPr/>
        </p:nvSpPr>
        <p:spPr bwMode="auto">
          <a:xfrm>
            <a:off x="6722986" y="3325057"/>
            <a:ext cx="81262" cy="81262"/>
          </a:xfrm>
          <a:prstGeom prst="ellipse">
            <a:avLst/>
          </a:prstGeom>
          <a:solidFill>
            <a:srgbClr val="FFFF7A"/>
          </a:solidFill>
          <a:ln w="12700" cap="flat" cmpd="sng" algn="ctr">
            <a:solidFill>
              <a:srgbClr val="FF540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chemeClr val="bg1"/>
              </a:solidFill>
              <a:ea typeface="Segoe UI Semibold" charset="0"/>
              <a:cs typeface="Segoe UI Semibold" charset="0"/>
              <a:sym typeface="Gill Sans" charset="0"/>
            </a:endParaRPr>
          </a:p>
        </p:txBody>
      </p:sp>
      <p:sp>
        <p:nvSpPr>
          <p:cNvPr id="375" name="Ellipse 138"/>
          <p:cNvSpPr/>
          <p:nvPr/>
        </p:nvSpPr>
        <p:spPr bwMode="auto">
          <a:xfrm>
            <a:off x="7072716" y="2712595"/>
            <a:ext cx="81262" cy="81262"/>
          </a:xfrm>
          <a:prstGeom prst="ellipse">
            <a:avLst/>
          </a:prstGeom>
          <a:solidFill>
            <a:srgbClr val="FFFF7A"/>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76" name="Ellipse 139"/>
          <p:cNvSpPr/>
          <p:nvPr/>
        </p:nvSpPr>
        <p:spPr bwMode="auto">
          <a:xfrm>
            <a:off x="6083947" y="2965270"/>
            <a:ext cx="81262" cy="81262"/>
          </a:xfrm>
          <a:prstGeom prst="ellipse">
            <a:avLst/>
          </a:prstGeom>
          <a:solidFill>
            <a:srgbClr val="FFFF7A"/>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77" name="Ellipse 140"/>
          <p:cNvSpPr/>
          <p:nvPr/>
        </p:nvSpPr>
        <p:spPr bwMode="auto">
          <a:xfrm>
            <a:off x="5077014" y="2526675"/>
            <a:ext cx="81262" cy="81262"/>
          </a:xfrm>
          <a:prstGeom prst="ellipse">
            <a:avLst/>
          </a:prstGeom>
          <a:solidFill>
            <a:srgbClr val="FFFF7A"/>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78" name="Ellipse 142"/>
          <p:cNvSpPr/>
          <p:nvPr/>
        </p:nvSpPr>
        <p:spPr bwMode="auto">
          <a:xfrm>
            <a:off x="5051522" y="2209750"/>
            <a:ext cx="81262" cy="81262"/>
          </a:xfrm>
          <a:prstGeom prst="ellipse">
            <a:avLst/>
          </a:prstGeom>
          <a:solidFill>
            <a:srgbClr val="FFFF7A"/>
          </a:solidFill>
          <a:ln w="12700" cap="flat" cmpd="sng" algn="ctr">
            <a:solidFill>
              <a:srgbClr val="FF540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chemeClr val="bg1"/>
              </a:solidFill>
              <a:ea typeface="Segoe UI Semibold" charset="0"/>
              <a:cs typeface="Segoe UI Semibold" charset="0"/>
              <a:sym typeface="Gill Sans" charset="0"/>
            </a:endParaRPr>
          </a:p>
        </p:txBody>
      </p:sp>
      <p:sp>
        <p:nvSpPr>
          <p:cNvPr id="379" name="Ellipse 143"/>
          <p:cNvSpPr/>
          <p:nvPr/>
        </p:nvSpPr>
        <p:spPr bwMode="auto">
          <a:xfrm>
            <a:off x="4782199" y="2189978"/>
            <a:ext cx="81262" cy="81262"/>
          </a:xfrm>
          <a:prstGeom prst="ellipse">
            <a:avLst/>
          </a:prstGeom>
          <a:solidFill>
            <a:srgbClr val="FFFF7A"/>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80" name="Ellipse 144"/>
          <p:cNvSpPr/>
          <p:nvPr/>
        </p:nvSpPr>
        <p:spPr bwMode="auto">
          <a:xfrm>
            <a:off x="4594957" y="2158990"/>
            <a:ext cx="81262" cy="81262"/>
          </a:xfrm>
          <a:prstGeom prst="ellipse">
            <a:avLst/>
          </a:prstGeom>
          <a:solidFill>
            <a:srgbClr val="FFFF7A"/>
          </a:solidFill>
          <a:ln w="12700" cap="flat" cmpd="sng" algn="ctr">
            <a:solidFill>
              <a:srgbClr val="FF540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chemeClr val="bg1"/>
              </a:solidFill>
              <a:ea typeface="Segoe UI Semibold" charset="0"/>
              <a:cs typeface="Segoe UI Semibold" charset="0"/>
              <a:sym typeface="Gill Sans" charset="0"/>
            </a:endParaRPr>
          </a:p>
        </p:txBody>
      </p:sp>
      <p:sp>
        <p:nvSpPr>
          <p:cNvPr id="382" name="Ellipse 146"/>
          <p:cNvSpPr/>
          <p:nvPr/>
        </p:nvSpPr>
        <p:spPr bwMode="auto">
          <a:xfrm>
            <a:off x="4807271" y="2082748"/>
            <a:ext cx="81262" cy="81262"/>
          </a:xfrm>
          <a:prstGeom prst="ellipse">
            <a:avLst/>
          </a:prstGeom>
          <a:solidFill>
            <a:srgbClr val="FFFF7A"/>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83" name="Ellipse 147"/>
          <p:cNvSpPr/>
          <p:nvPr/>
        </p:nvSpPr>
        <p:spPr bwMode="auto">
          <a:xfrm>
            <a:off x="4840804" y="1931757"/>
            <a:ext cx="81262" cy="81262"/>
          </a:xfrm>
          <a:prstGeom prst="ellipse">
            <a:avLst/>
          </a:prstGeom>
          <a:solidFill>
            <a:srgbClr val="FF5400"/>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chemeClr val="bg1"/>
              </a:solidFill>
              <a:ea typeface="Segoe UI Semibold" charset="0"/>
              <a:cs typeface="Segoe UI Semibold" charset="0"/>
              <a:sym typeface="Gill Sans" charset="0"/>
            </a:endParaRPr>
          </a:p>
        </p:txBody>
      </p:sp>
      <p:sp>
        <p:nvSpPr>
          <p:cNvPr id="384" name="Ellipse 148"/>
          <p:cNvSpPr/>
          <p:nvPr/>
        </p:nvSpPr>
        <p:spPr bwMode="auto">
          <a:xfrm>
            <a:off x="4881435" y="2016149"/>
            <a:ext cx="81262" cy="81262"/>
          </a:xfrm>
          <a:prstGeom prst="ellipse">
            <a:avLst/>
          </a:prstGeom>
          <a:solidFill>
            <a:srgbClr val="FFFF7A"/>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85" name="Ellipse 149"/>
          <p:cNvSpPr/>
          <p:nvPr/>
        </p:nvSpPr>
        <p:spPr bwMode="auto">
          <a:xfrm>
            <a:off x="4992509" y="1985912"/>
            <a:ext cx="81262" cy="81262"/>
          </a:xfrm>
          <a:prstGeom prst="ellipse">
            <a:avLst/>
          </a:prstGeom>
          <a:solidFill>
            <a:srgbClr val="FFFF7A"/>
          </a:solidFill>
          <a:ln w="12700" cap="flat" cmpd="sng" algn="ctr">
            <a:solidFill>
              <a:srgbClr val="FF540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chemeClr val="bg1"/>
              </a:solidFill>
              <a:ea typeface="Segoe UI Semibold" charset="0"/>
              <a:cs typeface="Segoe UI Semibold" charset="0"/>
              <a:sym typeface="Gill Sans" charset="0"/>
            </a:endParaRPr>
          </a:p>
        </p:txBody>
      </p:sp>
      <p:sp>
        <p:nvSpPr>
          <p:cNvPr id="386" name="Ellipse 153"/>
          <p:cNvSpPr/>
          <p:nvPr/>
        </p:nvSpPr>
        <p:spPr bwMode="auto">
          <a:xfrm>
            <a:off x="5180152" y="1913204"/>
            <a:ext cx="81262" cy="81262"/>
          </a:xfrm>
          <a:prstGeom prst="ellipse">
            <a:avLst/>
          </a:prstGeom>
          <a:solidFill>
            <a:srgbClr val="FFFF7A"/>
          </a:solidFill>
          <a:ln w="635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90" name="Ellipse 160"/>
          <p:cNvSpPr/>
          <p:nvPr/>
        </p:nvSpPr>
        <p:spPr bwMode="auto">
          <a:xfrm>
            <a:off x="459313" y="4241945"/>
            <a:ext cx="81262" cy="81262"/>
          </a:xfrm>
          <a:prstGeom prst="ellipse">
            <a:avLst/>
          </a:prstGeom>
          <a:solidFill>
            <a:srgbClr val="FFFF7A"/>
          </a:solidFill>
          <a:ln w="12700" cap="flat" cmpd="sng" algn="ctr">
            <a:solidFill>
              <a:srgbClr val="FF5400"/>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chemeClr val="bg1"/>
              </a:solidFill>
              <a:ea typeface="Segoe UI Semibold" charset="0"/>
              <a:cs typeface="Segoe UI Semibold" charset="0"/>
              <a:sym typeface="Gill Sans" charset="0"/>
            </a:endParaRPr>
          </a:p>
        </p:txBody>
      </p:sp>
      <p:sp>
        <p:nvSpPr>
          <p:cNvPr id="391" name="Ellipse 161"/>
          <p:cNvSpPr/>
          <p:nvPr/>
        </p:nvSpPr>
        <p:spPr bwMode="auto">
          <a:xfrm>
            <a:off x="459313" y="4029653"/>
            <a:ext cx="81262" cy="81262"/>
          </a:xfrm>
          <a:prstGeom prst="ellipse">
            <a:avLst/>
          </a:prstGeom>
          <a:solidFill>
            <a:srgbClr val="FF5400"/>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92" name="Ellipse 162"/>
          <p:cNvSpPr/>
          <p:nvPr/>
        </p:nvSpPr>
        <p:spPr bwMode="auto">
          <a:xfrm>
            <a:off x="459313" y="4463827"/>
            <a:ext cx="81262" cy="81262"/>
          </a:xfrm>
          <a:prstGeom prst="ellipse">
            <a:avLst/>
          </a:prstGeom>
          <a:solidFill>
            <a:srgbClr val="FFFF7A"/>
          </a:solidFill>
          <a:ln w="12700" cap="flat" cmpd="sng" algn="ctr">
            <a:no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lang="nb-NO" sz="1000" b="1" dirty="0">
              <a:solidFill>
                <a:srgbClr val="FFFF7A"/>
              </a:solidFill>
              <a:ea typeface="Segoe UI Semibold" charset="0"/>
              <a:cs typeface="Segoe UI Semibold" charset="0"/>
              <a:sym typeface="Gill Sans" charset="0"/>
            </a:endParaRPr>
          </a:p>
        </p:txBody>
      </p:sp>
      <p:sp>
        <p:nvSpPr>
          <p:cNvPr id="393" name="TekstSylinder 163"/>
          <p:cNvSpPr txBox="1"/>
          <p:nvPr/>
        </p:nvSpPr>
        <p:spPr>
          <a:xfrm>
            <a:off x="550318" y="3954868"/>
            <a:ext cx="928459" cy="230832"/>
          </a:xfrm>
          <a:prstGeom prst="rect">
            <a:avLst/>
          </a:prstGeom>
          <a:noFill/>
        </p:spPr>
        <p:txBody>
          <a:bodyPr wrap="none" rtlCol="0">
            <a:spAutoFit/>
          </a:bodyPr>
          <a:lstStyle/>
          <a:p>
            <a:r>
              <a:rPr lang="nb-NO" sz="900" b="1" dirty="0">
                <a:solidFill>
                  <a:srgbClr val="FF5400"/>
                </a:solidFill>
                <a:ea typeface="Segoe UI Semibold" charset="0"/>
                <a:cs typeface="Segoe UI Semibold" charset="0"/>
              </a:rPr>
              <a:t>Headquarters</a:t>
            </a:r>
          </a:p>
        </p:txBody>
      </p:sp>
      <p:sp>
        <p:nvSpPr>
          <p:cNvPr id="394" name="TekstSylinder 164"/>
          <p:cNvSpPr txBox="1"/>
          <p:nvPr/>
        </p:nvSpPr>
        <p:spPr>
          <a:xfrm>
            <a:off x="550318" y="4162685"/>
            <a:ext cx="1364476" cy="230832"/>
          </a:xfrm>
          <a:prstGeom prst="rect">
            <a:avLst/>
          </a:prstGeom>
          <a:noFill/>
        </p:spPr>
        <p:txBody>
          <a:bodyPr wrap="none" rtlCol="0">
            <a:spAutoFit/>
          </a:bodyPr>
          <a:lstStyle/>
          <a:p>
            <a:r>
              <a:rPr lang="nb-NO" sz="900" b="1" dirty="0">
                <a:solidFill>
                  <a:srgbClr val="FF9D73"/>
                </a:solidFill>
                <a:ea typeface="Segoe UI Semibold" charset="0"/>
                <a:cs typeface="Segoe UI Semibold" charset="0"/>
              </a:rPr>
              <a:t>Geo &amp; Regional Hubs</a:t>
            </a:r>
          </a:p>
        </p:txBody>
      </p:sp>
      <p:sp>
        <p:nvSpPr>
          <p:cNvPr id="395" name="TekstSylinder 165"/>
          <p:cNvSpPr txBox="1"/>
          <p:nvPr/>
        </p:nvSpPr>
        <p:spPr>
          <a:xfrm>
            <a:off x="550318" y="4397136"/>
            <a:ext cx="1717137" cy="369332"/>
          </a:xfrm>
          <a:prstGeom prst="rect">
            <a:avLst/>
          </a:prstGeom>
          <a:noFill/>
        </p:spPr>
        <p:txBody>
          <a:bodyPr wrap="none" rtlCol="0">
            <a:spAutoFit/>
          </a:bodyPr>
          <a:lstStyle/>
          <a:p>
            <a:r>
              <a:rPr lang="en-GB" sz="900" b="1" dirty="0">
                <a:solidFill>
                  <a:srgbClr val="FFFF00"/>
                </a:solidFill>
                <a:ea typeface="Segoe UI Semibold" charset="0"/>
                <a:cs typeface="Segoe UI Semibold" charset="0"/>
              </a:rPr>
              <a:t>Branches &amp; Representative </a:t>
            </a:r>
          </a:p>
          <a:p>
            <a:r>
              <a:rPr lang="en-GB" sz="900" b="1" dirty="0">
                <a:solidFill>
                  <a:srgbClr val="FFFF00"/>
                </a:solidFill>
                <a:ea typeface="Segoe UI Semibold" charset="0"/>
                <a:cs typeface="Segoe UI Semibold" charset="0"/>
              </a:rPr>
              <a:t>Offices</a:t>
            </a:r>
          </a:p>
        </p:txBody>
      </p:sp>
      <p:sp>
        <p:nvSpPr>
          <p:cNvPr id="396" name="TekstSylinder 122"/>
          <p:cNvSpPr txBox="1"/>
          <p:nvPr/>
        </p:nvSpPr>
        <p:spPr>
          <a:xfrm>
            <a:off x="5105714" y="1115463"/>
            <a:ext cx="636713" cy="184666"/>
          </a:xfrm>
          <a:prstGeom prst="rect">
            <a:avLst/>
          </a:prstGeom>
          <a:noFill/>
        </p:spPr>
        <p:txBody>
          <a:bodyPr wrap="none" rtlCol="0">
            <a:spAutoFit/>
          </a:bodyPr>
          <a:lstStyle/>
          <a:p>
            <a:r>
              <a:rPr lang="nb-NO" sz="600" b="1" dirty="0">
                <a:solidFill>
                  <a:srgbClr val="28B482"/>
                </a:solidFill>
                <a:ea typeface="Segoe UI Semibold" charset="0"/>
                <a:cs typeface="Segoe UI Semibold" charset="0"/>
              </a:rPr>
              <a:t>Atlantic Cod</a:t>
            </a:r>
          </a:p>
        </p:txBody>
      </p:sp>
      <p:sp>
        <p:nvSpPr>
          <p:cNvPr id="397" name="TekstSylinder 122"/>
          <p:cNvSpPr txBox="1"/>
          <p:nvPr/>
        </p:nvSpPr>
        <p:spPr>
          <a:xfrm>
            <a:off x="2534569" y="3409419"/>
            <a:ext cx="561372" cy="200055"/>
          </a:xfrm>
          <a:prstGeom prst="rect">
            <a:avLst/>
          </a:prstGeom>
          <a:noFill/>
        </p:spPr>
        <p:txBody>
          <a:bodyPr wrap="none" rtlCol="0">
            <a:spAutoFit/>
          </a:bodyPr>
          <a:lstStyle/>
          <a:p>
            <a:r>
              <a:rPr lang="nb-NO" sz="700" b="1" dirty="0">
                <a:solidFill>
                  <a:srgbClr val="28B482"/>
                </a:solidFill>
                <a:ea typeface="Segoe UI Semibold" charset="0"/>
                <a:cs typeface="Segoe UI Semibold" charset="0"/>
              </a:rPr>
              <a:t>Anchovy</a:t>
            </a:r>
          </a:p>
        </p:txBody>
      </p:sp>
      <p:sp>
        <p:nvSpPr>
          <p:cNvPr id="398" name="TekstSylinder 122"/>
          <p:cNvSpPr txBox="1"/>
          <p:nvPr/>
        </p:nvSpPr>
        <p:spPr>
          <a:xfrm>
            <a:off x="4224853" y="1301418"/>
            <a:ext cx="761747" cy="184666"/>
          </a:xfrm>
          <a:prstGeom prst="rect">
            <a:avLst/>
          </a:prstGeom>
          <a:noFill/>
        </p:spPr>
        <p:txBody>
          <a:bodyPr wrap="none" rtlCol="0">
            <a:spAutoFit/>
          </a:bodyPr>
          <a:lstStyle/>
          <a:p>
            <a:r>
              <a:rPr lang="nb-NO" sz="600" b="1" dirty="0">
                <a:solidFill>
                  <a:srgbClr val="28B482"/>
                </a:solidFill>
                <a:ea typeface="Segoe UI Semibold" charset="0"/>
                <a:cs typeface="Segoe UI Semibold" charset="0"/>
              </a:rPr>
              <a:t>Atlantic Herring</a:t>
            </a:r>
          </a:p>
        </p:txBody>
      </p:sp>
      <p:sp>
        <p:nvSpPr>
          <p:cNvPr id="399" name="TekstSylinder 122"/>
          <p:cNvSpPr txBox="1"/>
          <p:nvPr/>
        </p:nvSpPr>
        <p:spPr>
          <a:xfrm>
            <a:off x="2135822" y="3752265"/>
            <a:ext cx="1143262" cy="200055"/>
          </a:xfrm>
          <a:prstGeom prst="rect">
            <a:avLst/>
          </a:prstGeom>
          <a:noFill/>
        </p:spPr>
        <p:txBody>
          <a:bodyPr wrap="none" rtlCol="0">
            <a:spAutoFit/>
          </a:bodyPr>
          <a:lstStyle/>
          <a:p>
            <a:r>
              <a:rPr lang="nb-NO" sz="700" b="1" dirty="0">
                <a:solidFill>
                  <a:srgbClr val="28B482"/>
                </a:solidFill>
                <a:ea typeface="Segoe UI Semibold" charset="0"/>
                <a:cs typeface="Segoe UI Semibold" charset="0"/>
              </a:rPr>
              <a:t>Chilean Jack Mackerel</a:t>
            </a:r>
          </a:p>
        </p:txBody>
      </p:sp>
      <p:sp>
        <p:nvSpPr>
          <p:cNvPr id="400" name="TekstSylinder 122"/>
          <p:cNvSpPr txBox="1"/>
          <p:nvPr/>
        </p:nvSpPr>
        <p:spPr>
          <a:xfrm>
            <a:off x="2217801" y="4238332"/>
            <a:ext cx="864339" cy="200055"/>
          </a:xfrm>
          <a:prstGeom prst="rect">
            <a:avLst/>
          </a:prstGeom>
          <a:noFill/>
        </p:spPr>
        <p:txBody>
          <a:bodyPr wrap="none" rtlCol="0">
            <a:spAutoFit/>
          </a:bodyPr>
          <a:lstStyle/>
          <a:p>
            <a:r>
              <a:rPr lang="nb-NO" sz="700" b="1" dirty="0">
                <a:solidFill>
                  <a:srgbClr val="28B482"/>
                </a:solidFill>
                <a:ea typeface="Segoe UI Semibold" charset="0"/>
                <a:cs typeface="Segoe UI Semibold" charset="0"/>
              </a:rPr>
              <a:t>Atlantic Salmon</a:t>
            </a:r>
          </a:p>
        </p:txBody>
      </p:sp>
      <p:sp>
        <p:nvSpPr>
          <p:cNvPr id="401" name="TekstSylinder 122"/>
          <p:cNvSpPr txBox="1"/>
          <p:nvPr/>
        </p:nvSpPr>
        <p:spPr>
          <a:xfrm>
            <a:off x="755576" y="2337022"/>
            <a:ext cx="817853" cy="200055"/>
          </a:xfrm>
          <a:prstGeom prst="rect">
            <a:avLst/>
          </a:prstGeom>
          <a:noFill/>
        </p:spPr>
        <p:txBody>
          <a:bodyPr wrap="none" rtlCol="0">
            <a:spAutoFit/>
          </a:bodyPr>
          <a:lstStyle/>
          <a:p>
            <a:r>
              <a:rPr lang="nb-NO" sz="700" b="1" dirty="0">
                <a:solidFill>
                  <a:srgbClr val="28B482"/>
                </a:solidFill>
                <a:ea typeface="Segoe UI Semibold" charset="0"/>
                <a:cs typeface="Segoe UI Semibold" charset="0"/>
              </a:rPr>
              <a:t>Alaska Pollock</a:t>
            </a:r>
          </a:p>
        </p:txBody>
      </p:sp>
      <p:sp>
        <p:nvSpPr>
          <p:cNvPr id="402" name="TekstSylinder 122"/>
          <p:cNvSpPr txBox="1"/>
          <p:nvPr/>
        </p:nvSpPr>
        <p:spPr>
          <a:xfrm>
            <a:off x="1334985" y="2061003"/>
            <a:ext cx="864339" cy="200055"/>
          </a:xfrm>
          <a:prstGeom prst="rect">
            <a:avLst/>
          </a:prstGeom>
          <a:noFill/>
        </p:spPr>
        <p:txBody>
          <a:bodyPr wrap="none" rtlCol="0">
            <a:spAutoFit/>
          </a:bodyPr>
          <a:lstStyle/>
          <a:p>
            <a:r>
              <a:rPr lang="nb-NO" sz="700" b="1" dirty="0">
                <a:solidFill>
                  <a:srgbClr val="28B482"/>
                </a:solidFill>
                <a:ea typeface="Segoe UI Semibold" charset="0"/>
                <a:cs typeface="Segoe UI Semibold" charset="0"/>
              </a:rPr>
              <a:t>Atlantic Salmon</a:t>
            </a:r>
          </a:p>
        </p:txBody>
      </p:sp>
      <p:sp>
        <p:nvSpPr>
          <p:cNvPr id="403" name="TekstSylinder 122"/>
          <p:cNvSpPr txBox="1"/>
          <p:nvPr/>
        </p:nvSpPr>
        <p:spPr>
          <a:xfrm>
            <a:off x="3258234" y="2117059"/>
            <a:ext cx="764953" cy="184666"/>
          </a:xfrm>
          <a:prstGeom prst="rect">
            <a:avLst/>
          </a:prstGeom>
          <a:noFill/>
        </p:spPr>
        <p:txBody>
          <a:bodyPr wrap="none" rtlCol="0">
            <a:spAutoFit/>
          </a:bodyPr>
          <a:lstStyle/>
          <a:p>
            <a:r>
              <a:rPr lang="nb-NO" sz="600" b="1" dirty="0">
                <a:solidFill>
                  <a:srgbClr val="28B482"/>
                </a:solidFill>
                <a:ea typeface="Segoe UI Semibold" charset="0"/>
                <a:cs typeface="Segoe UI Semibold" charset="0"/>
              </a:rPr>
              <a:t>Atlantic Salmon</a:t>
            </a:r>
          </a:p>
        </p:txBody>
      </p:sp>
      <p:sp>
        <p:nvSpPr>
          <p:cNvPr id="404" name="TekstSylinder 122"/>
          <p:cNvSpPr txBox="1"/>
          <p:nvPr/>
        </p:nvSpPr>
        <p:spPr>
          <a:xfrm>
            <a:off x="4241436" y="1712329"/>
            <a:ext cx="844811" cy="184666"/>
          </a:xfrm>
          <a:prstGeom prst="rect">
            <a:avLst/>
          </a:prstGeom>
          <a:noFill/>
        </p:spPr>
        <p:txBody>
          <a:bodyPr wrap="square" rtlCol="0">
            <a:spAutoFit/>
          </a:bodyPr>
          <a:lstStyle/>
          <a:p>
            <a:r>
              <a:rPr lang="nb-NO" sz="600" b="1" dirty="0">
                <a:solidFill>
                  <a:srgbClr val="28B482"/>
                </a:solidFill>
                <a:ea typeface="Segoe UI Semibold" charset="0"/>
                <a:cs typeface="Segoe UI Semibold" charset="0"/>
              </a:rPr>
              <a:t>Atlantic Salmon</a:t>
            </a:r>
          </a:p>
        </p:txBody>
      </p:sp>
      <p:pic>
        <p:nvPicPr>
          <p:cNvPr id="405" name="Picture 404"/>
          <p:cNvPicPr>
            <a:picLocks noChangeAspect="1"/>
          </p:cNvPicPr>
          <p:nvPr/>
        </p:nvPicPr>
        <p:blipFill>
          <a:blip r:embed="rId4"/>
          <a:stretch>
            <a:fillRect/>
          </a:stretch>
        </p:blipFill>
        <p:spPr>
          <a:xfrm>
            <a:off x="2483768" y="4454807"/>
            <a:ext cx="298585" cy="114045"/>
          </a:xfrm>
          <a:prstGeom prst="rect">
            <a:avLst/>
          </a:prstGeom>
        </p:spPr>
      </p:pic>
      <p:pic>
        <p:nvPicPr>
          <p:cNvPr id="406" name="Picture 405"/>
          <p:cNvPicPr>
            <a:picLocks noChangeAspect="1"/>
          </p:cNvPicPr>
          <p:nvPr/>
        </p:nvPicPr>
        <p:blipFill>
          <a:blip r:embed="rId4"/>
          <a:stretch>
            <a:fillRect/>
          </a:stretch>
        </p:blipFill>
        <p:spPr>
          <a:xfrm>
            <a:off x="2505196" y="3947052"/>
            <a:ext cx="279422" cy="106725"/>
          </a:xfrm>
          <a:prstGeom prst="rect">
            <a:avLst/>
          </a:prstGeom>
        </p:spPr>
      </p:pic>
      <p:pic>
        <p:nvPicPr>
          <p:cNvPr id="407" name="Picture 406"/>
          <p:cNvPicPr>
            <a:picLocks noChangeAspect="1"/>
          </p:cNvPicPr>
          <p:nvPr/>
        </p:nvPicPr>
        <p:blipFill>
          <a:blip r:embed="rId4"/>
          <a:stretch>
            <a:fillRect/>
          </a:stretch>
        </p:blipFill>
        <p:spPr>
          <a:xfrm>
            <a:off x="2675847" y="3609474"/>
            <a:ext cx="281633" cy="107570"/>
          </a:xfrm>
          <a:prstGeom prst="rect">
            <a:avLst/>
          </a:prstGeom>
        </p:spPr>
      </p:pic>
      <p:pic>
        <p:nvPicPr>
          <p:cNvPr id="408" name="Picture 407"/>
          <p:cNvPicPr>
            <a:picLocks noChangeAspect="1"/>
          </p:cNvPicPr>
          <p:nvPr/>
        </p:nvPicPr>
        <p:blipFill>
          <a:blip r:embed="rId4"/>
          <a:stretch>
            <a:fillRect/>
          </a:stretch>
        </p:blipFill>
        <p:spPr>
          <a:xfrm>
            <a:off x="1565264" y="2261058"/>
            <a:ext cx="316531" cy="120899"/>
          </a:xfrm>
          <a:prstGeom prst="rect">
            <a:avLst/>
          </a:prstGeom>
        </p:spPr>
      </p:pic>
      <p:pic>
        <p:nvPicPr>
          <p:cNvPr id="409" name="Picture 408"/>
          <p:cNvPicPr>
            <a:picLocks noChangeAspect="1"/>
          </p:cNvPicPr>
          <p:nvPr/>
        </p:nvPicPr>
        <p:blipFill>
          <a:blip r:embed="rId4"/>
          <a:stretch>
            <a:fillRect/>
          </a:stretch>
        </p:blipFill>
        <p:spPr>
          <a:xfrm>
            <a:off x="971600" y="2525056"/>
            <a:ext cx="309147" cy="118079"/>
          </a:xfrm>
          <a:prstGeom prst="rect">
            <a:avLst/>
          </a:prstGeom>
        </p:spPr>
      </p:pic>
      <p:pic>
        <p:nvPicPr>
          <p:cNvPr id="410" name="Picture 409"/>
          <p:cNvPicPr>
            <a:picLocks noChangeAspect="1"/>
          </p:cNvPicPr>
          <p:nvPr/>
        </p:nvPicPr>
        <p:blipFill>
          <a:blip r:embed="rId4"/>
          <a:stretch>
            <a:fillRect/>
          </a:stretch>
        </p:blipFill>
        <p:spPr>
          <a:xfrm>
            <a:off x="3607278" y="2265584"/>
            <a:ext cx="274915" cy="105004"/>
          </a:xfrm>
          <a:prstGeom prst="rect">
            <a:avLst/>
          </a:prstGeom>
        </p:spPr>
      </p:pic>
      <p:pic>
        <p:nvPicPr>
          <p:cNvPr id="411" name="Picture 410"/>
          <p:cNvPicPr>
            <a:picLocks noChangeAspect="1"/>
          </p:cNvPicPr>
          <p:nvPr/>
        </p:nvPicPr>
        <p:blipFill>
          <a:blip r:embed="rId4"/>
          <a:stretch>
            <a:fillRect/>
          </a:stretch>
        </p:blipFill>
        <p:spPr>
          <a:xfrm>
            <a:off x="4457064" y="1850945"/>
            <a:ext cx="228323" cy="87208"/>
          </a:xfrm>
          <a:prstGeom prst="rect">
            <a:avLst/>
          </a:prstGeom>
        </p:spPr>
      </p:pic>
      <p:pic>
        <p:nvPicPr>
          <p:cNvPr id="412" name="Picture 411"/>
          <p:cNvPicPr>
            <a:picLocks noChangeAspect="1"/>
          </p:cNvPicPr>
          <p:nvPr/>
        </p:nvPicPr>
        <p:blipFill>
          <a:blip r:embed="rId4"/>
          <a:stretch>
            <a:fillRect/>
          </a:stretch>
        </p:blipFill>
        <p:spPr>
          <a:xfrm>
            <a:off x="4482747" y="1467197"/>
            <a:ext cx="285058" cy="108878"/>
          </a:xfrm>
          <a:prstGeom prst="rect">
            <a:avLst/>
          </a:prstGeom>
        </p:spPr>
      </p:pic>
      <p:pic>
        <p:nvPicPr>
          <p:cNvPr id="413" name="Picture 412"/>
          <p:cNvPicPr>
            <a:picLocks noChangeAspect="1"/>
          </p:cNvPicPr>
          <p:nvPr/>
        </p:nvPicPr>
        <p:blipFill>
          <a:blip r:embed="rId4"/>
          <a:stretch>
            <a:fillRect/>
          </a:stretch>
        </p:blipFill>
        <p:spPr>
          <a:xfrm>
            <a:off x="5325516" y="1263952"/>
            <a:ext cx="278156" cy="106242"/>
          </a:xfrm>
          <a:prstGeom prst="rect">
            <a:avLst/>
          </a:prstGeom>
        </p:spPr>
      </p:pic>
      <p:sp>
        <p:nvSpPr>
          <p:cNvPr id="122" name="Plassholder for tekst 5"/>
          <p:cNvSpPr txBox="1">
            <a:spLocks/>
          </p:cNvSpPr>
          <p:nvPr/>
        </p:nvSpPr>
        <p:spPr>
          <a:xfrm>
            <a:off x="3563888" y="4299942"/>
            <a:ext cx="5976664" cy="866354"/>
          </a:xfrm>
          <a:prstGeom prst="rect">
            <a:avLst/>
          </a:prstGeom>
        </p:spPr>
        <p:txBody>
          <a:bodyPr>
            <a:normAutofit/>
          </a:bodyPr>
          <a:lstStyle>
            <a:lvl1pPr marL="266700" indent="-266700" algn="l" defTabSz="914400" rtl="0" eaLnBrk="1" latinLnBrk="0" hangingPunct="1">
              <a:spcBef>
                <a:spcPct val="20000"/>
              </a:spcBef>
              <a:buClr>
                <a:schemeClr val="accent2"/>
              </a:buClr>
              <a:buFont typeface="Arial" pitchFamily="34" charset="0"/>
              <a:buChar char="•"/>
              <a:defRPr sz="2400" kern="1200">
                <a:solidFill>
                  <a:schemeClr val="tx1"/>
                </a:solidFill>
                <a:latin typeface="+mn-lt"/>
                <a:ea typeface="+mn-ea"/>
                <a:cs typeface="+mn-cs"/>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GB" sz="800" dirty="0">
                <a:solidFill>
                  <a:srgbClr val="FFFFFF"/>
                </a:solidFill>
              </a:rPr>
              <a:t>Banks with 17 of the top 20 salmon farmers globally</a:t>
            </a:r>
          </a:p>
          <a:p>
            <a:pPr>
              <a:buClr>
                <a:srgbClr val="FFFFFF"/>
              </a:buClr>
            </a:pPr>
            <a:r>
              <a:rPr lang="en-GB" sz="800" dirty="0">
                <a:solidFill>
                  <a:srgbClr val="FFFFFF"/>
                </a:solidFill>
              </a:rPr>
              <a:t>Global leading seafood bank, presence in key markets,</a:t>
            </a:r>
            <a:r>
              <a:rPr lang="nb-NO" sz="800" dirty="0">
                <a:solidFill>
                  <a:srgbClr val="FFFFFF"/>
                </a:solidFill>
              </a:rPr>
              <a:t> 10 USD billion </a:t>
            </a:r>
            <a:r>
              <a:rPr lang="en-GB" sz="800" dirty="0">
                <a:solidFill>
                  <a:srgbClr val="FFFFFF"/>
                </a:solidFill>
              </a:rPr>
              <a:t>of total exposure </a:t>
            </a:r>
          </a:p>
          <a:p>
            <a:pPr>
              <a:buClr>
                <a:srgbClr val="FFFFFF"/>
              </a:buClr>
            </a:pPr>
            <a:r>
              <a:rPr lang="en-GB" sz="800" dirty="0">
                <a:solidFill>
                  <a:srgbClr val="FFFFFF"/>
                </a:solidFill>
              </a:rPr>
              <a:t>In-depth industry knowledge developed through close long-term relationships with key customers</a:t>
            </a:r>
          </a:p>
          <a:p>
            <a:pPr>
              <a:buClr>
                <a:srgbClr val="FFFFFF"/>
              </a:buClr>
            </a:pPr>
            <a:r>
              <a:rPr lang="en-GB" sz="800" dirty="0">
                <a:solidFill>
                  <a:srgbClr val="FFFFFF"/>
                </a:solidFill>
              </a:rPr>
              <a:t>Dedicated seafood team with an international footprint and strong track record as a banking partner and advisor </a:t>
            </a:r>
          </a:p>
          <a:p>
            <a:pPr>
              <a:buClr>
                <a:srgbClr val="FFFFFF"/>
              </a:buClr>
            </a:pPr>
            <a:r>
              <a:rPr lang="en-GB" sz="800" dirty="0">
                <a:solidFill>
                  <a:srgbClr val="FFFFFF"/>
                </a:solidFill>
              </a:rPr>
              <a:t>Leading arranger of debt in seafood sector, and a full range of Investment Banking services offered</a:t>
            </a:r>
          </a:p>
        </p:txBody>
      </p:sp>
      <p:pic>
        <p:nvPicPr>
          <p:cNvPr id="4" name="Picture 3">
            <a:extLst>
              <a:ext uri="{FF2B5EF4-FFF2-40B4-BE49-F238E27FC236}">
                <a16:creationId xmlns:a16="http://schemas.microsoft.com/office/drawing/2014/main" id="{308606BA-74B8-4A1A-29BE-16DAF3BA6554}"/>
              </a:ext>
            </a:extLst>
          </p:cNvPr>
          <p:cNvPicPr>
            <a:picLocks noChangeAspect="1"/>
          </p:cNvPicPr>
          <p:nvPr/>
        </p:nvPicPr>
        <p:blipFill>
          <a:blip r:embed="rId5"/>
          <a:stretch>
            <a:fillRect/>
          </a:stretch>
        </p:blipFill>
        <p:spPr>
          <a:xfrm>
            <a:off x="6773706" y="1239400"/>
            <a:ext cx="2243640" cy="2043315"/>
          </a:xfrm>
          <a:prstGeom prst="rect">
            <a:avLst/>
          </a:prstGeom>
        </p:spPr>
      </p:pic>
    </p:spTree>
    <p:extLst>
      <p:ext uri="{BB962C8B-B14F-4D97-AF65-F5344CB8AC3E}">
        <p14:creationId xmlns:p14="http://schemas.microsoft.com/office/powerpoint/2010/main" val="1137629376"/>
      </p:ext>
    </p:extLst>
  </p:cSld>
  <p:clrMapOvr>
    <a:masterClrMapping/>
  </p:clrMapOvr>
  <p:transition spd="med" advClick="0">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64679-BB10-CBD1-7985-4AA5272D2404}"/>
              </a:ext>
            </a:extLst>
          </p:cNvPr>
          <p:cNvSpPr>
            <a:spLocks noGrp="1"/>
          </p:cNvSpPr>
          <p:nvPr>
            <p:ph type="title"/>
          </p:nvPr>
        </p:nvSpPr>
        <p:spPr/>
        <p:txBody>
          <a:bodyPr/>
          <a:lstStyle/>
          <a:p>
            <a:r>
              <a:rPr lang="en-US"/>
              <a:t>Agenda</a:t>
            </a:r>
          </a:p>
        </p:txBody>
      </p:sp>
      <p:sp>
        <p:nvSpPr>
          <p:cNvPr id="3" name="Slide Number Placeholder 2">
            <a:extLst>
              <a:ext uri="{FF2B5EF4-FFF2-40B4-BE49-F238E27FC236}">
                <a16:creationId xmlns:a16="http://schemas.microsoft.com/office/drawing/2014/main" id="{05DDAFB6-C0B6-A2F4-BB42-66EDF332A21D}"/>
              </a:ext>
            </a:extLst>
          </p:cNvPr>
          <p:cNvSpPr>
            <a:spLocks noGrp="1"/>
          </p:cNvSpPr>
          <p:nvPr>
            <p:ph type="sldNum" sz="quarter" idx="16"/>
          </p:nvPr>
        </p:nvSpPr>
        <p:spPr/>
        <p:txBody>
          <a:bodyPr/>
          <a:lstStyle/>
          <a:p>
            <a:fld id="{DE050E36-BA33-43C0-AE7D-FD2A806B7DFE}" type="slidenum">
              <a:rPr lang="en-US" smtClean="0"/>
              <a:pPr/>
              <a:t>3</a:t>
            </a:fld>
            <a:endParaRPr lang="en-US"/>
          </a:p>
        </p:txBody>
      </p:sp>
      <p:sp>
        <p:nvSpPr>
          <p:cNvPr id="4" name="Text Placeholder 3">
            <a:extLst>
              <a:ext uri="{FF2B5EF4-FFF2-40B4-BE49-F238E27FC236}">
                <a16:creationId xmlns:a16="http://schemas.microsoft.com/office/drawing/2014/main" id="{D24B6117-3D30-1075-9B59-30FBDCB9DF8E}"/>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1EA0B48B-0E16-690D-BC65-0F2AA008CF0B}"/>
              </a:ext>
            </a:extLst>
          </p:cNvPr>
          <p:cNvSpPr>
            <a:spLocks noGrp="1"/>
          </p:cNvSpPr>
          <p:nvPr>
            <p:ph type="body" sz="quarter" idx="14"/>
          </p:nvPr>
        </p:nvSpPr>
        <p:spPr/>
        <p:txBody>
          <a:bodyPr/>
          <a:lstStyle/>
          <a:p>
            <a:endParaRPr lang="en-US"/>
          </a:p>
        </p:txBody>
      </p:sp>
      <p:sp>
        <p:nvSpPr>
          <p:cNvPr id="6" name="Content Placeholder 5">
            <a:extLst>
              <a:ext uri="{FF2B5EF4-FFF2-40B4-BE49-F238E27FC236}">
                <a16:creationId xmlns:a16="http://schemas.microsoft.com/office/drawing/2014/main" id="{0E851A19-5544-50A9-98D8-0F95D300AB5A}"/>
              </a:ext>
            </a:extLst>
          </p:cNvPr>
          <p:cNvSpPr>
            <a:spLocks noGrp="1"/>
          </p:cNvSpPr>
          <p:nvPr>
            <p:ph sz="quarter" idx="17"/>
          </p:nvPr>
        </p:nvSpPr>
        <p:spPr/>
        <p:txBody>
          <a:bodyPr/>
          <a:lstStyle/>
          <a:p>
            <a:r>
              <a:rPr lang="en-US" dirty="0">
                <a:solidFill>
                  <a:srgbClr val="FF0000"/>
                </a:solidFill>
              </a:rPr>
              <a:t>Sustainability issues in salmon</a:t>
            </a:r>
          </a:p>
          <a:p>
            <a:r>
              <a:rPr lang="en-US" dirty="0"/>
              <a:t>Green and sustainability linked financing</a:t>
            </a:r>
          </a:p>
          <a:p>
            <a:endParaRPr lang="en-US" dirty="0"/>
          </a:p>
          <a:p>
            <a:endParaRPr lang="en-US" dirty="0"/>
          </a:p>
        </p:txBody>
      </p:sp>
    </p:spTree>
    <p:extLst>
      <p:ext uri="{BB962C8B-B14F-4D97-AF65-F5344CB8AC3E}">
        <p14:creationId xmlns:p14="http://schemas.microsoft.com/office/powerpoint/2010/main" val="3911308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6"/>
          </p:nvPr>
        </p:nvSpPr>
        <p:spPr>
          <a:xfrm>
            <a:off x="8619487" y="4922713"/>
            <a:ext cx="731158" cy="171569"/>
          </a:xfrm>
        </p:spPr>
        <p:txBody>
          <a:bodyPr/>
          <a:lstStyle/>
          <a:p>
            <a:fld id="{DE050E36-BA33-43C0-AE7D-FD2A806B7DFE}" type="slidenum">
              <a:rPr lang="en-US" smtClean="0"/>
              <a:pPr/>
              <a:t>4</a:t>
            </a:fld>
            <a:endParaRPr lang="en-US" dirty="0"/>
          </a:p>
        </p:txBody>
      </p:sp>
      <p:sp>
        <p:nvSpPr>
          <p:cNvPr id="4" name="Text Placeholder 3"/>
          <p:cNvSpPr>
            <a:spLocks noGrp="1"/>
          </p:cNvSpPr>
          <p:nvPr>
            <p:ph type="body" sz="quarter" idx="12"/>
          </p:nvPr>
        </p:nvSpPr>
        <p:spPr>
          <a:xfrm>
            <a:off x="5400532" y="87475"/>
            <a:ext cx="3960000" cy="132197"/>
          </a:xfrm>
        </p:spPr>
        <p:txBody>
          <a:bodyPr>
            <a:normAutofit fontScale="70000" lnSpcReduction="20000"/>
          </a:bodyPr>
          <a:lstStyle/>
          <a:p>
            <a:endParaRPr lang="en-US" dirty="0"/>
          </a:p>
        </p:txBody>
      </p:sp>
      <p:sp>
        <p:nvSpPr>
          <p:cNvPr id="5" name="Text Placeholder 4"/>
          <p:cNvSpPr>
            <a:spLocks noGrp="1"/>
          </p:cNvSpPr>
          <p:nvPr>
            <p:ph type="body" sz="quarter" idx="14"/>
          </p:nvPr>
        </p:nvSpPr>
        <p:spPr>
          <a:xfrm>
            <a:off x="1471511" y="4926807"/>
            <a:ext cx="6172552" cy="216693"/>
          </a:xfrm>
        </p:spPr>
        <p:txBody>
          <a:bodyPr/>
          <a:lstStyle/>
          <a:p>
            <a:endParaRPr lang="en-US" dirty="0"/>
          </a:p>
        </p:txBody>
      </p:sp>
      <p:sp>
        <p:nvSpPr>
          <p:cNvPr id="9" name="Title 5"/>
          <p:cNvSpPr>
            <a:spLocks noGrp="1"/>
          </p:cNvSpPr>
          <p:nvPr>
            <p:ph type="title"/>
          </p:nvPr>
        </p:nvSpPr>
        <p:spPr>
          <a:xfrm>
            <a:off x="971600" y="339502"/>
            <a:ext cx="8100900" cy="540000"/>
          </a:xfrm>
          <a:prstGeom prst="rect">
            <a:avLst/>
          </a:prstGeom>
        </p:spPr>
        <p:txBody>
          <a:bodyPr vert="horz" lIns="77925" tIns="38963" rIns="77925" bIns="38963" rtlCol="0" anchor="b" anchorCtr="0">
            <a:noAutofit/>
          </a:bodyPr>
          <a:lstStyle/>
          <a:p>
            <a:r>
              <a:rPr lang="en-US" sz="2400" dirty="0"/>
              <a:t>Direct link sustainability &amp; profitability in salmon farming</a:t>
            </a:r>
          </a:p>
        </p:txBody>
      </p:sp>
      <p:graphicFrame>
        <p:nvGraphicFramePr>
          <p:cNvPr id="10" name="Diagram 9"/>
          <p:cNvGraphicFramePr/>
          <p:nvPr>
            <p:extLst>
              <p:ext uri="{D42A27DB-BD31-4B8C-83A1-F6EECF244321}">
                <p14:modId xmlns:p14="http://schemas.microsoft.com/office/powerpoint/2010/main" val="261576771"/>
              </p:ext>
            </p:extLst>
          </p:nvPr>
        </p:nvGraphicFramePr>
        <p:xfrm>
          <a:off x="2231740" y="1347614"/>
          <a:ext cx="6096000" cy="33439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94529F41-F702-406C-9757-E8C087D58047}"/>
              </a:ext>
            </a:extLst>
          </p:cNvPr>
          <p:cNvSpPr txBox="1"/>
          <p:nvPr/>
        </p:nvSpPr>
        <p:spPr>
          <a:xfrm>
            <a:off x="1043608" y="1923678"/>
            <a:ext cx="720080" cy="461665"/>
          </a:xfrm>
          <a:prstGeom prst="rect">
            <a:avLst/>
          </a:prstGeom>
          <a:noFill/>
        </p:spPr>
        <p:txBody>
          <a:bodyPr wrap="square" rtlCol="0">
            <a:spAutoFit/>
          </a:bodyPr>
          <a:lstStyle/>
          <a:p>
            <a:pPr marL="0" indent="0" algn="ctr">
              <a:buClr>
                <a:schemeClr val="accent2"/>
              </a:buClr>
              <a:buFont typeface="Wingdings" pitchFamily="2" charset="2"/>
              <a:buNone/>
            </a:pPr>
            <a:r>
              <a:rPr lang="en-US" sz="1200" i="1" dirty="0">
                <a:highlight>
                  <a:srgbClr val="FFFF00"/>
                </a:highlight>
              </a:rPr>
              <a:t>Bio-security</a:t>
            </a:r>
          </a:p>
        </p:txBody>
      </p:sp>
      <p:sp>
        <p:nvSpPr>
          <p:cNvPr id="6" name="TextBox 5">
            <a:extLst>
              <a:ext uri="{FF2B5EF4-FFF2-40B4-BE49-F238E27FC236}">
                <a16:creationId xmlns:a16="http://schemas.microsoft.com/office/drawing/2014/main" id="{958845BC-9E4A-6E3A-42CA-0DBFBA62A0F4}"/>
              </a:ext>
            </a:extLst>
          </p:cNvPr>
          <p:cNvSpPr txBox="1"/>
          <p:nvPr/>
        </p:nvSpPr>
        <p:spPr>
          <a:xfrm>
            <a:off x="1034092" y="3651870"/>
            <a:ext cx="720080" cy="461665"/>
          </a:xfrm>
          <a:prstGeom prst="rect">
            <a:avLst/>
          </a:prstGeom>
          <a:noFill/>
        </p:spPr>
        <p:txBody>
          <a:bodyPr wrap="square" rtlCol="0">
            <a:spAutoFit/>
          </a:bodyPr>
          <a:lstStyle/>
          <a:p>
            <a:pPr marL="0" indent="0" algn="ctr">
              <a:buClr>
                <a:schemeClr val="accent2"/>
              </a:buClr>
              <a:buFont typeface="Wingdings" pitchFamily="2" charset="2"/>
              <a:buNone/>
            </a:pPr>
            <a:r>
              <a:rPr lang="en-US" sz="1200" i="1" dirty="0">
                <a:highlight>
                  <a:srgbClr val="FFFF00"/>
                </a:highlight>
              </a:rPr>
              <a:t>Social license</a:t>
            </a:r>
          </a:p>
        </p:txBody>
      </p:sp>
    </p:spTree>
    <p:extLst>
      <p:ext uri="{BB962C8B-B14F-4D97-AF65-F5344CB8AC3E}">
        <p14:creationId xmlns:p14="http://schemas.microsoft.com/office/powerpoint/2010/main" val="3054672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0" name="Diagram 4">
            <a:extLst>
              <a:ext uri="{FF2B5EF4-FFF2-40B4-BE49-F238E27FC236}">
                <a16:creationId xmlns:a16="http://schemas.microsoft.com/office/drawing/2014/main" id="{48DA1E3A-840D-49DF-91AC-226707E54DF6}"/>
              </a:ext>
            </a:extLst>
          </p:cNvPr>
          <p:cNvGraphicFramePr/>
          <p:nvPr>
            <p:extLst>
              <p:ext uri="{D42A27DB-BD31-4B8C-83A1-F6EECF244321}">
                <p14:modId xmlns:p14="http://schemas.microsoft.com/office/powerpoint/2010/main" val="2607781497"/>
              </p:ext>
            </p:extLst>
          </p:nvPr>
        </p:nvGraphicFramePr>
        <p:xfrm>
          <a:off x="395536" y="738511"/>
          <a:ext cx="8053275" cy="432048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236274C5-6674-42D6-A774-CD20222676CC}"/>
              </a:ext>
            </a:extLst>
          </p:cNvPr>
          <p:cNvSpPr txBox="1"/>
          <p:nvPr/>
        </p:nvSpPr>
        <p:spPr>
          <a:xfrm>
            <a:off x="467544" y="843558"/>
            <a:ext cx="7560840" cy="276999"/>
          </a:xfrm>
          <a:prstGeom prst="rect">
            <a:avLst/>
          </a:prstGeom>
          <a:solidFill>
            <a:schemeClr val="accent2"/>
          </a:solidFill>
        </p:spPr>
        <p:txBody>
          <a:bodyPr wrap="square" rtlCol="0">
            <a:spAutoFit/>
          </a:bodyPr>
          <a:lstStyle>
            <a:defPPr>
              <a:defRPr lang="nb-NO"/>
            </a:defPPr>
            <a:lvl1pPr indent="0" algn="ctr">
              <a:buClr>
                <a:schemeClr val="accent2"/>
              </a:buClr>
              <a:buFont typeface="Wingdings" pitchFamily="2" charset="2"/>
              <a:buNone/>
              <a:defRPr sz="1200">
                <a:solidFill>
                  <a:srgbClr val="FFFFFF"/>
                </a:solidFill>
              </a:defRPr>
            </a:lvl1pPr>
          </a:lstStyle>
          <a:p>
            <a:r>
              <a:rPr lang="en-US" dirty="0"/>
              <a:t>Cost per kg, NOK. Change since 2005</a:t>
            </a:r>
          </a:p>
        </p:txBody>
      </p:sp>
      <p:sp>
        <p:nvSpPr>
          <p:cNvPr id="16" name="Title 6">
            <a:extLst>
              <a:ext uri="{FF2B5EF4-FFF2-40B4-BE49-F238E27FC236}">
                <a16:creationId xmlns:a16="http://schemas.microsoft.com/office/drawing/2014/main" id="{F4723177-F78D-48F3-A03A-314059ECB92F}"/>
              </a:ext>
            </a:extLst>
          </p:cNvPr>
          <p:cNvSpPr txBox="1">
            <a:spLocks/>
          </p:cNvSpPr>
          <p:nvPr/>
        </p:nvSpPr>
        <p:spPr>
          <a:xfrm>
            <a:off x="75909" y="-1911"/>
            <a:ext cx="9066031" cy="711081"/>
          </a:xfrm>
          <a:prstGeom prst="rect">
            <a:avLst/>
          </a:prstGeom>
        </p:spPr>
        <p:txBody>
          <a:bodyPr vert="horz" lIns="91440" tIns="45720" rIns="91440" bIns="45720" rtlCol="0" anchor="b" anchorCtr="0">
            <a:normAutofit fontScale="97500"/>
          </a:bodyPr>
          <a:lstStyle>
            <a:lvl1pPr algn="l" defTabSz="914400" rtl="0" eaLnBrk="1" latinLnBrk="0" hangingPunct="1">
              <a:spcBef>
                <a:spcPct val="0"/>
              </a:spcBef>
              <a:buNone/>
              <a:defRPr sz="2800" kern="1200">
                <a:solidFill>
                  <a:schemeClr val="accent2"/>
                </a:solidFill>
                <a:latin typeface="+mj-lt"/>
                <a:ea typeface="+mj-ea"/>
                <a:cs typeface="+mj-cs"/>
              </a:defRPr>
            </a:lvl1pPr>
          </a:lstStyle>
          <a:p>
            <a:pPr algn="ctr"/>
            <a:r>
              <a:rPr lang="en-US" dirty="0"/>
              <a:t>Sustainability a key cost driver</a:t>
            </a:r>
            <a:endParaRPr lang="en-US" i="1" dirty="0"/>
          </a:p>
        </p:txBody>
      </p:sp>
      <p:sp>
        <p:nvSpPr>
          <p:cNvPr id="19" name="Slide Number Placeholder 18">
            <a:extLst>
              <a:ext uri="{FF2B5EF4-FFF2-40B4-BE49-F238E27FC236}">
                <a16:creationId xmlns:a16="http://schemas.microsoft.com/office/drawing/2014/main" id="{955B1EDD-D2A7-432F-9068-F37BFB046B09}"/>
              </a:ext>
            </a:extLst>
          </p:cNvPr>
          <p:cNvSpPr>
            <a:spLocks noGrp="1"/>
          </p:cNvSpPr>
          <p:nvPr>
            <p:ph type="sldNum" sz="quarter" idx="16"/>
          </p:nvPr>
        </p:nvSpPr>
        <p:spPr>
          <a:xfrm>
            <a:off x="7935096" y="4616345"/>
            <a:ext cx="731158" cy="171569"/>
          </a:xfrm>
        </p:spPr>
        <p:txBody>
          <a:bodyPr/>
          <a:lstStyle/>
          <a:p>
            <a:fld id="{DE050E36-BA33-43C0-AE7D-FD2A806B7DFE}" type="slidenum">
              <a:rPr lang="en-US" smtClean="0"/>
              <a:pPr/>
              <a:t>5</a:t>
            </a:fld>
            <a:endParaRPr lang="en-US" dirty="0"/>
          </a:p>
        </p:txBody>
      </p:sp>
      <p:sp>
        <p:nvSpPr>
          <p:cNvPr id="20" name="Text Placeholder 4">
            <a:extLst>
              <a:ext uri="{FF2B5EF4-FFF2-40B4-BE49-F238E27FC236}">
                <a16:creationId xmlns:a16="http://schemas.microsoft.com/office/drawing/2014/main" id="{F7A3DA88-5D30-433F-84B1-C00B3C3AF479}"/>
              </a:ext>
            </a:extLst>
          </p:cNvPr>
          <p:cNvSpPr txBox="1">
            <a:spLocks/>
          </p:cNvSpPr>
          <p:nvPr/>
        </p:nvSpPr>
        <p:spPr>
          <a:xfrm>
            <a:off x="145007" y="4920007"/>
            <a:ext cx="4104456" cy="200055"/>
          </a:xfrm>
          <a:prstGeom prst="rect">
            <a:avLst/>
          </a:prstGeom>
          <a:noFill/>
        </p:spPr>
        <p:txBody>
          <a:bodyPr wrap="square" rtlCol="0">
            <a:spAutoFit/>
          </a:bodyPr>
          <a:lstStyle>
            <a:defPPr>
              <a:defRPr lang="nb-NO"/>
            </a:defPPr>
            <a:lvl1pPr indent="0">
              <a:buClr>
                <a:schemeClr val="accent2"/>
              </a:buClr>
              <a:buFont typeface="Wingdings" pitchFamily="2" charset="2"/>
              <a:buNone/>
              <a:defRPr sz="700" i="1">
                <a:solidFill>
                  <a:schemeClr val="bg1"/>
                </a:solidFill>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ource: </a:t>
            </a:r>
            <a:r>
              <a:rPr lang="en-US" dirty="0" err="1"/>
              <a:t>Bård</a:t>
            </a:r>
            <a:r>
              <a:rPr lang="en-US" dirty="0"/>
              <a:t> Misund, University of Stavanger</a:t>
            </a:r>
          </a:p>
        </p:txBody>
      </p:sp>
    </p:spTree>
    <p:extLst>
      <p:ext uri="{BB962C8B-B14F-4D97-AF65-F5344CB8AC3E}">
        <p14:creationId xmlns:p14="http://schemas.microsoft.com/office/powerpoint/2010/main" val="42627657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71DE781-44D7-09FD-6C77-04A428AC6DA2}"/>
              </a:ext>
            </a:extLst>
          </p:cNvPr>
          <p:cNvPicPr>
            <a:picLocks noChangeAspect="1"/>
          </p:cNvPicPr>
          <p:nvPr/>
        </p:nvPicPr>
        <p:blipFill>
          <a:blip r:embed="rId3"/>
          <a:stretch>
            <a:fillRect/>
          </a:stretch>
        </p:blipFill>
        <p:spPr>
          <a:xfrm>
            <a:off x="969918" y="1526136"/>
            <a:ext cx="6120035" cy="2922428"/>
          </a:xfrm>
          <a:prstGeom prst="rect">
            <a:avLst/>
          </a:prstGeom>
        </p:spPr>
      </p:pic>
      <p:sp>
        <p:nvSpPr>
          <p:cNvPr id="2" name="Title 1">
            <a:extLst>
              <a:ext uri="{FF2B5EF4-FFF2-40B4-BE49-F238E27FC236}">
                <a16:creationId xmlns:a16="http://schemas.microsoft.com/office/drawing/2014/main" id="{C6584202-2C95-5FD1-D57A-0CDD7170746F}"/>
              </a:ext>
            </a:extLst>
          </p:cNvPr>
          <p:cNvSpPr>
            <a:spLocks noGrp="1"/>
          </p:cNvSpPr>
          <p:nvPr>
            <p:ph type="title"/>
          </p:nvPr>
        </p:nvSpPr>
        <p:spPr>
          <a:xfrm>
            <a:off x="873123" y="249158"/>
            <a:ext cx="8045470" cy="702152"/>
          </a:xfrm>
        </p:spPr>
        <p:txBody>
          <a:bodyPr/>
          <a:lstStyle/>
          <a:p>
            <a:r>
              <a:rPr lang="en-US" sz="1800" i="1" dirty="0"/>
              <a:t>The sustainability cost until now has been related to the marine environment</a:t>
            </a:r>
            <a:br>
              <a:rPr lang="en-US" dirty="0"/>
            </a:br>
            <a:r>
              <a:rPr lang="en-US" dirty="0"/>
              <a:t>Carbon the next big cost item?</a:t>
            </a:r>
          </a:p>
        </p:txBody>
      </p:sp>
      <p:sp>
        <p:nvSpPr>
          <p:cNvPr id="3" name="Slide Number Placeholder 2">
            <a:extLst>
              <a:ext uri="{FF2B5EF4-FFF2-40B4-BE49-F238E27FC236}">
                <a16:creationId xmlns:a16="http://schemas.microsoft.com/office/drawing/2014/main" id="{00C5E20E-2B91-F5FA-81EC-8EE9ECCE913C}"/>
              </a:ext>
            </a:extLst>
          </p:cNvPr>
          <p:cNvSpPr>
            <a:spLocks noGrp="1"/>
          </p:cNvSpPr>
          <p:nvPr>
            <p:ph type="sldNum" sz="quarter" idx="16"/>
          </p:nvPr>
        </p:nvSpPr>
        <p:spPr/>
        <p:txBody>
          <a:bodyPr/>
          <a:lstStyle/>
          <a:p>
            <a:fld id="{DE050E36-BA33-43C0-AE7D-FD2A806B7DFE}" type="slidenum">
              <a:rPr lang="en-US" smtClean="0"/>
              <a:pPr/>
              <a:t>6</a:t>
            </a:fld>
            <a:endParaRPr lang="en-US"/>
          </a:p>
        </p:txBody>
      </p:sp>
      <p:sp>
        <p:nvSpPr>
          <p:cNvPr id="4" name="Text Placeholder 3">
            <a:extLst>
              <a:ext uri="{FF2B5EF4-FFF2-40B4-BE49-F238E27FC236}">
                <a16:creationId xmlns:a16="http://schemas.microsoft.com/office/drawing/2014/main" id="{44042FF9-81D0-3BC4-DCA3-2687AABACA23}"/>
              </a:ext>
            </a:extLst>
          </p:cNvPr>
          <p:cNvSpPr>
            <a:spLocks noGrp="1"/>
          </p:cNvSpPr>
          <p:nvPr>
            <p:ph type="body" sz="quarter" idx="12"/>
          </p:nvPr>
        </p:nvSpPr>
        <p:spPr/>
        <p:txBody>
          <a:bodyPr>
            <a:normAutofit fontScale="70000" lnSpcReduction="20000"/>
          </a:bodyPr>
          <a:lstStyle/>
          <a:p>
            <a:endParaRPr lang="en-US"/>
          </a:p>
        </p:txBody>
      </p:sp>
      <p:sp>
        <p:nvSpPr>
          <p:cNvPr id="5" name="Text Placeholder 4">
            <a:extLst>
              <a:ext uri="{FF2B5EF4-FFF2-40B4-BE49-F238E27FC236}">
                <a16:creationId xmlns:a16="http://schemas.microsoft.com/office/drawing/2014/main" id="{D322DAA7-FF60-5E96-CCD3-88CD0029DCAF}"/>
              </a:ext>
            </a:extLst>
          </p:cNvPr>
          <p:cNvSpPr>
            <a:spLocks noGrp="1"/>
          </p:cNvSpPr>
          <p:nvPr>
            <p:ph type="body" sz="quarter" idx="14"/>
          </p:nvPr>
        </p:nvSpPr>
        <p:spPr/>
        <p:txBody>
          <a:bodyPr/>
          <a:lstStyle/>
          <a:p>
            <a:endParaRPr lang="en-US"/>
          </a:p>
        </p:txBody>
      </p:sp>
      <p:sp>
        <p:nvSpPr>
          <p:cNvPr id="10" name="TextBox 9">
            <a:extLst>
              <a:ext uri="{FF2B5EF4-FFF2-40B4-BE49-F238E27FC236}">
                <a16:creationId xmlns:a16="http://schemas.microsoft.com/office/drawing/2014/main" id="{0B206345-4E83-7F8C-4FA3-321BC0275BCD}"/>
              </a:ext>
            </a:extLst>
          </p:cNvPr>
          <p:cNvSpPr txBox="1"/>
          <p:nvPr/>
        </p:nvSpPr>
        <p:spPr>
          <a:xfrm>
            <a:off x="7586806" y="1995686"/>
            <a:ext cx="1322257" cy="2185214"/>
          </a:xfrm>
          <a:prstGeom prst="rect">
            <a:avLst/>
          </a:prstGeom>
          <a:noFill/>
        </p:spPr>
        <p:txBody>
          <a:bodyPr wrap="square">
            <a:spAutoFit/>
          </a:bodyPr>
          <a:lstStyle/>
          <a:p>
            <a:r>
              <a:rPr lang="en-US" sz="800" b="0" i="1" dirty="0">
                <a:solidFill>
                  <a:srgbClr val="050505"/>
                </a:solidFill>
                <a:effectLst/>
              </a:rPr>
              <a:t>EUR/ton </a:t>
            </a:r>
            <a:r>
              <a:rPr lang="en-US" sz="800" i="1" dirty="0">
                <a:solidFill>
                  <a:srgbClr val="050505"/>
                </a:solidFill>
              </a:rPr>
              <a:t>at 100 would </a:t>
            </a:r>
            <a:r>
              <a:rPr lang="en-US" sz="800" b="0" i="1" dirty="0">
                <a:solidFill>
                  <a:srgbClr val="050505"/>
                </a:solidFill>
                <a:effectLst/>
              </a:rPr>
              <a:t>add NOK/kg 5 to the cost of salmon delivered by truck to Europe from Norway. For salmon delivered by air to the US or Asia, it would add NOK/kg 20-30 in cost. </a:t>
            </a:r>
          </a:p>
          <a:p>
            <a:endParaRPr lang="en-US" sz="800" i="1" dirty="0">
              <a:solidFill>
                <a:srgbClr val="050505"/>
              </a:solidFill>
            </a:endParaRPr>
          </a:p>
          <a:p>
            <a:r>
              <a:rPr lang="en-US" sz="800" i="1" dirty="0">
                <a:solidFill>
                  <a:srgbClr val="050505"/>
                </a:solidFill>
              </a:rPr>
              <a:t>Meat producers would be hit harder than salmon farmers however for the actual product (but on the other hand they don’t tend to fly the product to the customer).</a:t>
            </a:r>
          </a:p>
          <a:p>
            <a:endParaRPr lang="en-US" sz="800" i="1" dirty="0"/>
          </a:p>
        </p:txBody>
      </p:sp>
      <p:sp>
        <p:nvSpPr>
          <p:cNvPr id="11" name="TextBox 10">
            <a:extLst>
              <a:ext uri="{FF2B5EF4-FFF2-40B4-BE49-F238E27FC236}">
                <a16:creationId xmlns:a16="http://schemas.microsoft.com/office/drawing/2014/main" id="{EC0B90C3-E7DD-C495-F916-3735FAC51008}"/>
              </a:ext>
            </a:extLst>
          </p:cNvPr>
          <p:cNvSpPr txBox="1"/>
          <p:nvPr/>
        </p:nvSpPr>
        <p:spPr>
          <a:xfrm>
            <a:off x="911960" y="1152554"/>
            <a:ext cx="6120035" cy="276999"/>
          </a:xfrm>
          <a:prstGeom prst="rect">
            <a:avLst/>
          </a:prstGeom>
          <a:solidFill>
            <a:schemeClr val="accent2"/>
          </a:solidFill>
        </p:spPr>
        <p:txBody>
          <a:bodyPr wrap="square" rtlCol="0">
            <a:spAutoFit/>
          </a:bodyPr>
          <a:lstStyle>
            <a:defPPr>
              <a:defRPr lang="nb-NO"/>
            </a:defPPr>
            <a:lvl1pPr indent="0" algn="ctr">
              <a:buClr>
                <a:schemeClr val="accent2"/>
              </a:buClr>
              <a:buFont typeface="Wingdings" pitchFamily="2" charset="2"/>
              <a:buNone/>
              <a:defRPr sz="1200">
                <a:solidFill>
                  <a:srgbClr val="FFFFFF"/>
                </a:solidFill>
              </a:defRPr>
            </a:lvl1pPr>
          </a:lstStyle>
          <a:p>
            <a:r>
              <a:rPr lang="en-US" dirty="0"/>
              <a:t>The cost of green house gas emissions. EUR/ton (EU carbon permits)</a:t>
            </a:r>
          </a:p>
        </p:txBody>
      </p:sp>
      <p:sp>
        <p:nvSpPr>
          <p:cNvPr id="6" name="Text Placeholder 4">
            <a:extLst>
              <a:ext uri="{FF2B5EF4-FFF2-40B4-BE49-F238E27FC236}">
                <a16:creationId xmlns:a16="http://schemas.microsoft.com/office/drawing/2014/main" id="{A4CFE065-7684-B719-D003-F3F737D48E28}"/>
              </a:ext>
            </a:extLst>
          </p:cNvPr>
          <p:cNvSpPr txBox="1">
            <a:spLocks/>
          </p:cNvSpPr>
          <p:nvPr/>
        </p:nvSpPr>
        <p:spPr>
          <a:xfrm>
            <a:off x="797284" y="4894342"/>
            <a:ext cx="4104456" cy="200055"/>
          </a:xfrm>
          <a:prstGeom prst="rect">
            <a:avLst/>
          </a:prstGeom>
          <a:noFill/>
        </p:spPr>
        <p:txBody>
          <a:bodyPr wrap="square" rtlCol="0">
            <a:spAutoFit/>
          </a:bodyPr>
          <a:lstStyle>
            <a:defPPr>
              <a:defRPr lang="nb-NO"/>
            </a:defPPr>
            <a:lvl1pPr indent="0">
              <a:buClr>
                <a:schemeClr val="accent2"/>
              </a:buClr>
              <a:buFont typeface="Wingdings" pitchFamily="2" charset="2"/>
              <a:buNone/>
              <a:defRPr sz="700" i="1">
                <a:solidFill>
                  <a:schemeClr val="bg1"/>
                </a:solidFill>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ource: </a:t>
            </a:r>
            <a:r>
              <a:rPr lang="en-US" dirty="0" err="1"/>
              <a:t>Tradingeconoimcs</a:t>
            </a:r>
            <a:endParaRPr lang="en-US" dirty="0"/>
          </a:p>
        </p:txBody>
      </p:sp>
    </p:spTree>
    <p:extLst>
      <p:ext uri="{BB962C8B-B14F-4D97-AF65-F5344CB8AC3E}">
        <p14:creationId xmlns:p14="http://schemas.microsoft.com/office/powerpoint/2010/main" val="742991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5EFAB55-2835-4CAE-BB73-0F26DAEB9DA4}"/>
              </a:ext>
            </a:extLst>
          </p:cNvPr>
          <p:cNvSpPr>
            <a:spLocks noGrp="1"/>
          </p:cNvSpPr>
          <p:nvPr>
            <p:ph type="sldNum" sz="quarter" idx="16"/>
          </p:nvPr>
        </p:nvSpPr>
        <p:spPr/>
        <p:txBody>
          <a:bodyPr/>
          <a:lstStyle/>
          <a:p>
            <a:fld id="{DE050E36-BA33-43C0-AE7D-FD2A806B7DFE}" type="slidenum">
              <a:rPr lang="en-GB" smtClean="0"/>
              <a:pPr/>
              <a:t>7</a:t>
            </a:fld>
            <a:endParaRPr lang="en-GB"/>
          </a:p>
        </p:txBody>
      </p:sp>
      <p:sp>
        <p:nvSpPr>
          <p:cNvPr id="4" name="Text Placeholder 3">
            <a:extLst>
              <a:ext uri="{FF2B5EF4-FFF2-40B4-BE49-F238E27FC236}">
                <a16:creationId xmlns:a16="http://schemas.microsoft.com/office/drawing/2014/main" id="{7E3180F4-2786-483B-8B80-60F149F46E17}"/>
              </a:ext>
            </a:extLst>
          </p:cNvPr>
          <p:cNvSpPr>
            <a:spLocks noGrp="1"/>
          </p:cNvSpPr>
          <p:nvPr>
            <p:ph type="body" sz="quarter" idx="12"/>
          </p:nvPr>
        </p:nvSpPr>
        <p:spPr/>
        <p:txBody>
          <a:bodyPr>
            <a:normAutofit fontScale="70000" lnSpcReduction="20000"/>
          </a:bodyPr>
          <a:lstStyle/>
          <a:p>
            <a:endParaRPr lang="en-US"/>
          </a:p>
        </p:txBody>
      </p:sp>
      <p:pic>
        <p:nvPicPr>
          <p:cNvPr id="7" name="Picture 6">
            <a:extLst>
              <a:ext uri="{FF2B5EF4-FFF2-40B4-BE49-F238E27FC236}">
                <a16:creationId xmlns:a16="http://schemas.microsoft.com/office/drawing/2014/main" id="{82CC657E-51CF-4EAE-B600-51CCC6FC4520}"/>
              </a:ext>
            </a:extLst>
          </p:cNvPr>
          <p:cNvPicPr>
            <a:picLocks noChangeAspect="1"/>
          </p:cNvPicPr>
          <p:nvPr/>
        </p:nvPicPr>
        <p:blipFill>
          <a:blip r:embed="rId3"/>
          <a:stretch>
            <a:fillRect/>
          </a:stretch>
        </p:blipFill>
        <p:spPr>
          <a:xfrm>
            <a:off x="161910" y="75712"/>
            <a:ext cx="5703528" cy="4980313"/>
          </a:xfrm>
          <a:prstGeom prst="rect">
            <a:avLst/>
          </a:prstGeom>
        </p:spPr>
      </p:pic>
      <p:pic>
        <p:nvPicPr>
          <p:cNvPr id="11" name="Graphic 10">
            <a:extLst>
              <a:ext uri="{FF2B5EF4-FFF2-40B4-BE49-F238E27FC236}">
                <a16:creationId xmlns:a16="http://schemas.microsoft.com/office/drawing/2014/main" id="{6B2E170B-1AE7-4DB3-B24E-31F11CD6FC6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30327" y="1347614"/>
            <a:ext cx="2993073" cy="2909057"/>
          </a:xfrm>
          <a:prstGeom prst="rect">
            <a:avLst/>
          </a:prstGeom>
        </p:spPr>
      </p:pic>
      <p:sp>
        <p:nvSpPr>
          <p:cNvPr id="8" name="Text Placeholder 2">
            <a:extLst>
              <a:ext uri="{FF2B5EF4-FFF2-40B4-BE49-F238E27FC236}">
                <a16:creationId xmlns:a16="http://schemas.microsoft.com/office/drawing/2014/main" id="{EA16CEE9-9942-4457-8F42-970DC67B63AB}"/>
              </a:ext>
            </a:extLst>
          </p:cNvPr>
          <p:cNvSpPr txBox="1">
            <a:spLocks/>
          </p:cNvSpPr>
          <p:nvPr/>
        </p:nvSpPr>
        <p:spPr>
          <a:xfrm>
            <a:off x="7524328" y="4869018"/>
            <a:ext cx="7872694" cy="216693"/>
          </a:xfrm>
          <a:prstGeom prst="rect">
            <a:avLst/>
          </a:prstGeom>
        </p:spPr>
        <p:txBody>
          <a:bodyPr vert="horz" lIns="91440" tIns="36000" rIns="91440" bIns="0" rtlCol="0" anchor="t" anchorCtr="0">
            <a:normAutofit/>
          </a:bodyPr>
          <a:lstStyle>
            <a:lvl1pPr marL="0" indent="0" algn="l" defTabSz="914400" rtl="0" eaLnBrk="1" latinLnBrk="0" hangingPunct="1">
              <a:spcBef>
                <a:spcPct val="20000"/>
              </a:spcBef>
              <a:buClr>
                <a:schemeClr val="accent2"/>
              </a:buClr>
              <a:buFontTx/>
              <a:buNone/>
              <a:defRPr sz="1000" kern="1200">
                <a:solidFill>
                  <a:schemeClr val="bg1">
                    <a:lumMod val="65000"/>
                  </a:schemeClr>
                </a:solidFill>
                <a:latin typeface="+mn-lt"/>
                <a:ea typeface="+mn-ea"/>
                <a:cs typeface="+mn-cs"/>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700" i="1" dirty="0">
                <a:solidFill>
                  <a:srgbClr val="FFFFFF"/>
                </a:solidFill>
              </a:rPr>
              <a:t>Source: IPCC, Nature Food</a:t>
            </a:r>
          </a:p>
        </p:txBody>
      </p:sp>
    </p:spTree>
    <p:extLst>
      <p:ext uri="{BB962C8B-B14F-4D97-AF65-F5344CB8AC3E}">
        <p14:creationId xmlns:p14="http://schemas.microsoft.com/office/powerpoint/2010/main" val="1360106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randombar(horizontal)">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254FAAD-FB9B-C67F-F90F-CF66CB872512}"/>
              </a:ext>
            </a:extLst>
          </p:cNvPr>
          <p:cNvPicPr>
            <a:picLocks noChangeAspect="1"/>
          </p:cNvPicPr>
          <p:nvPr/>
        </p:nvPicPr>
        <p:blipFill>
          <a:blip r:embed="rId3"/>
          <a:stretch>
            <a:fillRect/>
          </a:stretch>
        </p:blipFill>
        <p:spPr>
          <a:xfrm>
            <a:off x="688080" y="681192"/>
            <a:ext cx="6833478" cy="4225617"/>
          </a:xfrm>
          <a:prstGeom prst="rect">
            <a:avLst/>
          </a:prstGeom>
        </p:spPr>
      </p:pic>
      <p:sp>
        <p:nvSpPr>
          <p:cNvPr id="2" name="Title 1">
            <a:extLst>
              <a:ext uri="{FF2B5EF4-FFF2-40B4-BE49-F238E27FC236}">
                <a16:creationId xmlns:a16="http://schemas.microsoft.com/office/drawing/2014/main" id="{450EC987-5124-CA15-0507-88F082CD8E42}"/>
              </a:ext>
            </a:extLst>
          </p:cNvPr>
          <p:cNvSpPr>
            <a:spLocks noGrp="1"/>
          </p:cNvSpPr>
          <p:nvPr>
            <p:ph type="title"/>
          </p:nvPr>
        </p:nvSpPr>
        <p:spPr>
          <a:xfrm>
            <a:off x="974815" y="-20960"/>
            <a:ext cx="8201630" cy="702152"/>
          </a:xfrm>
        </p:spPr>
        <p:txBody>
          <a:bodyPr/>
          <a:lstStyle/>
          <a:p>
            <a:r>
              <a:rPr lang="en-US" sz="3200" dirty="0">
                <a:solidFill>
                  <a:srgbClr val="FF0000"/>
                </a:solidFill>
              </a:rPr>
              <a:t>No food system change = no Net Zero!</a:t>
            </a:r>
          </a:p>
        </p:txBody>
      </p:sp>
      <p:sp>
        <p:nvSpPr>
          <p:cNvPr id="4" name="Slide Number Placeholder 3">
            <a:extLst>
              <a:ext uri="{FF2B5EF4-FFF2-40B4-BE49-F238E27FC236}">
                <a16:creationId xmlns:a16="http://schemas.microsoft.com/office/drawing/2014/main" id="{7EF36FF8-CCFC-7860-7FE7-73C30D613E95}"/>
              </a:ext>
            </a:extLst>
          </p:cNvPr>
          <p:cNvSpPr>
            <a:spLocks noGrp="1"/>
          </p:cNvSpPr>
          <p:nvPr>
            <p:ph type="sldNum" sz="quarter" idx="10"/>
          </p:nvPr>
        </p:nvSpPr>
        <p:spPr>
          <a:xfrm>
            <a:off x="7945298" y="4560421"/>
            <a:ext cx="731158" cy="171569"/>
          </a:xfrm>
        </p:spPr>
        <p:txBody>
          <a:bodyPr/>
          <a:lstStyle/>
          <a:p>
            <a:pPr>
              <a:defRPr/>
            </a:pPr>
            <a:r>
              <a:rPr lang="en-US" sz="1600" dirty="0">
                <a:highlight>
                  <a:srgbClr val="FFFFFF"/>
                </a:highlight>
              </a:rPr>
              <a:t>2050</a:t>
            </a:r>
          </a:p>
          <a:p>
            <a:pPr>
              <a:defRPr/>
            </a:pPr>
            <a:endParaRPr lang="en-US" sz="1600" dirty="0">
              <a:highlight>
                <a:srgbClr val="FFFFFF"/>
              </a:highlight>
            </a:endParaRPr>
          </a:p>
        </p:txBody>
      </p:sp>
      <p:sp>
        <p:nvSpPr>
          <p:cNvPr id="7" name="Oval 6">
            <a:extLst>
              <a:ext uri="{FF2B5EF4-FFF2-40B4-BE49-F238E27FC236}">
                <a16:creationId xmlns:a16="http://schemas.microsoft.com/office/drawing/2014/main" id="{05EE9248-643D-3785-AD96-9B564C18638F}"/>
              </a:ext>
            </a:extLst>
          </p:cNvPr>
          <p:cNvSpPr/>
          <p:nvPr/>
        </p:nvSpPr>
        <p:spPr>
          <a:xfrm>
            <a:off x="8165118" y="2499742"/>
            <a:ext cx="655354" cy="360040"/>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Clr>
                <a:schemeClr val="accent2"/>
              </a:buClr>
              <a:buFont typeface="Wingdings" pitchFamily="2" charset="2"/>
              <a:buNone/>
            </a:pPr>
            <a:r>
              <a:rPr lang="en-US" sz="1600" dirty="0">
                <a:solidFill>
                  <a:srgbClr val="FFFF00"/>
                </a:solidFill>
              </a:rPr>
              <a:t>25</a:t>
            </a:r>
          </a:p>
        </p:txBody>
      </p:sp>
      <p:sp>
        <p:nvSpPr>
          <p:cNvPr id="8" name="Title 1">
            <a:extLst>
              <a:ext uri="{FF2B5EF4-FFF2-40B4-BE49-F238E27FC236}">
                <a16:creationId xmlns:a16="http://schemas.microsoft.com/office/drawing/2014/main" id="{ABA207B5-0392-65B9-1955-87420842A5E8}"/>
              </a:ext>
            </a:extLst>
          </p:cNvPr>
          <p:cNvSpPr txBox="1">
            <a:spLocks/>
          </p:cNvSpPr>
          <p:nvPr/>
        </p:nvSpPr>
        <p:spPr>
          <a:xfrm>
            <a:off x="1952402" y="3364692"/>
            <a:ext cx="4524603" cy="702152"/>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2800" kern="1200">
                <a:solidFill>
                  <a:schemeClr val="accent2"/>
                </a:solidFill>
                <a:latin typeface="+mj-lt"/>
                <a:ea typeface="+mj-ea"/>
                <a:cs typeface="+mj-cs"/>
              </a:defRPr>
            </a:lvl1pPr>
          </a:lstStyle>
          <a:p>
            <a:r>
              <a:rPr lang="en-US" sz="1800" i="1" dirty="0">
                <a:solidFill>
                  <a:schemeClr val="bg1"/>
                </a:solidFill>
                <a:highlight>
                  <a:srgbClr val="FFFF00"/>
                </a:highlight>
              </a:rPr>
              <a:t>If all other sectors achieve net zero, but we continue to produce food the way we do today, we will reduce green house gas emissions by only half</a:t>
            </a:r>
          </a:p>
        </p:txBody>
      </p:sp>
      <p:cxnSp>
        <p:nvCxnSpPr>
          <p:cNvPr id="10" name="Straight Arrow Connector 9">
            <a:extLst>
              <a:ext uri="{FF2B5EF4-FFF2-40B4-BE49-F238E27FC236}">
                <a16:creationId xmlns:a16="http://schemas.microsoft.com/office/drawing/2014/main" id="{0BF4CC67-CF81-2F41-AE9B-F6BD0F51948C}"/>
              </a:ext>
            </a:extLst>
          </p:cNvPr>
          <p:cNvCxnSpPr>
            <a:cxnSpLocks/>
          </p:cNvCxnSpPr>
          <p:nvPr/>
        </p:nvCxnSpPr>
        <p:spPr>
          <a:xfrm>
            <a:off x="7534759" y="955764"/>
            <a:ext cx="886028" cy="13999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F14C219-5371-80C7-2316-FB0DDEA02369}"/>
              </a:ext>
            </a:extLst>
          </p:cNvPr>
          <p:cNvSpPr txBox="1"/>
          <p:nvPr/>
        </p:nvSpPr>
        <p:spPr>
          <a:xfrm>
            <a:off x="611560" y="701064"/>
            <a:ext cx="1728316" cy="400110"/>
          </a:xfrm>
          <a:prstGeom prst="rect">
            <a:avLst/>
          </a:prstGeom>
          <a:noFill/>
        </p:spPr>
        <p:txBody>
          <a:bodyPr wrap="square" rtlCol="0">
            <a:spAutoFit/>
          </a:bodyPr>
          <a:lstStyle/>
          <a:p>
            <a:pPr marL="0" indent="0">
              <a:buClr>
                <a:schemeClr val="accent2"/>
              </a:buClr>
              <a:buFont typeface="Wingdings" pitchFamily="2" charset="2"/>
              <a:buNone/>
            </a:pPr>
            <a:r>
              <a:rPr lang="en-US" sz="1000" dirty="0"/>
              <a:t>Greenhouse gas</a:t>
            </a:r>
          </a:p>
          <a:p>
            <a:pPr marL="0" indent="0">
              <a:buClr>
                <a:schemeClr val="accent2"/>
              </a:buClr>
              <a:buFont typeface="Wingdings" pitchFamily="2" charset="2"/>
              <a:buNone/>
            </a:pPr>
            <a:r>
              <a:rPr lang="en-US" sz="1000" dirty="0"/>
              <a:t>emissions, billion tons</a:t>
            </a:r>
          </a:p>
        </p:txBody>
      </p:sp>
      <p:sp>
        <p:nvSpPr>
          <p:cNvPr id="14" name="Oval 13">
            <a:extLst>
              <a:ext uri="{FF2B5EF4-FFF2-40B4-BE49-F238E27FC236}">
                <a16:creationId xmlns:a16="http://schemas.microsoft.com/office/drawing/2014/main" id="{DD792902-8263-0458-6B9B-E00A1039A271}"/>
              </a:ext>
            </a:extLst>
          </p:cNvPr>
          <p:cNvSpPr/>
          <p:nvPr/>
        </p:nvSpPr>
        <p:spPr>
          <a:xfrm>
            <a:off x="8093110" y="4155926"/>
            <a:ext cx="655354" cy="36004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Clr>
                <a:schemeClr val="accent2"/>
              </a:buClr>
              <a:buFont typeface="Wingdings" pitchFamily="2" charset="2"/>
              <a:buNone/>
            </a:pPr>
            <a:r>
              <a:rPr lang="nb-NO" sz="1600" dirty="0">
                <a:solidFill>
                  <a:srgbClr val="FFFF00"/>
                </a:solidFill>
              </a:rPr>
              <a:t>0</a:t>
            </a:r>
            <a:endParaRPr lang="en-US" sz="1600" dirty="0">
              <a:solidFill>
                <a:srgbClr val="FFFF00"/>
              </a:solidFill>
            </a:endParaRPr>
          </a:p>
        </p:txBody>
      </p:sp>
      <p:cxnSp>
        <p:nvCxnSpPr>
          <p:cNvPr id="15" name="Straight Arrow Connector 14">
            <a:extLst>
              <a:ext uri="{FF2B5EF4-FFF2-40B4-BE49-F238E27FC236}">
                <a16:creationId xmlns:a16="http://schemas.microsoft.com/office/drawing/2014/main" id="{CC4F6620-F2D1-531F-DF3D-3966F12CE5F6}"/>
              </a:ext>
            </a:extLst>
          </p:cNvPr>
          <p:cNvCxnSpPr>
            <a:cxnSpLocks/>
          </p:cNvCxnSpPr>
          <p:nvPr/>
        </p:nvCxnSpPr>
        <p:spPr>
          <a:xfrm>
            <a:off x="7521558" y="955764"/>
            <a:ext cx="649047" cy="300604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 name="Text Placeholder 4">
            <a:extLst>
              <a:ext uri="{FF2B5EF4-FFF2-40B4-BE49-F238E27FC236}">
                <a16:creationId xmlns:a16="http://schemas.microsoft.com/office/drawing/2014/main" id="{D2E4CD99-03FD-536B-C481-8A03B36A567C}"/>
              </a:ext>
            </a:extLst>
          </p:cNvPr>
          <p:cNvSpPr txBox="1">
            <a:spLocks/>
          </p:cNvSpPr>
          <p:nvPr/>
        </p:nvSpPr>
        <p:spPr>
          <a:xfrm>
            <a:off x="145007" y="4920007"/>
            <a:ext cx="4104456" cy="200055"/>
          </a:xfrm>
          <a:prstGeom prst="rect">
            <a:avLst/>
          </a:prstGeom>
          <a:noFill/>
        </p:spPr>
        <p:txBody>
          <a:bodyPr wrap="square" rtlCol="0">
            <a:spAutoFit/>
          </a:bodyPr>
          <a:lstStyle>
            <a:defPPr>
              <a:defRPr lang="nb-NO"/>
            </a:defPPr>
            <a:lvl1pPr indent="0">
              <a:buClr>
                <a:schemeClr val="accent2"/>
              </a:buClr>
              <a:buFont typeface="Wingdings" pitchFamily="2" charset="2"/>
              <a:buNone/>
              <a:defRPr sz="700" i="1">
                <a:solidFill>
                  <a:schemeClr val="bg1"/>
                </a:solidFill>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Source: DNB, Our World in Data, Bill Gates</a:t>
            </a:r>
          </a:p>
        </p:txBody>
      </p:sp>
    </p:spTree>
    <p:extLst>
      <p:ext uri="{BB962C8B-B14F-4D97-AF65-F5344CB8AC3E}">
        <p14:creationId xmlns:p14="http://schemas.microsoft.com/office/powerpoint/2010/main" val="2555702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animBg="1"/>
      <p:bldP spid="8" grpId="0"/>
      <p:bldP spid="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D92449E-04BE-4F04-A475-32F9FECF8165}"/>
              </a:ext>
            </a:extLst>
          </p:cNvPr>
          <p:cNvSpPr>
            <a:spLocks noGrp="1"/>
          </p:cNvSpPr>
          <p:nvPr>
            <p:ph type="sldNum" sz="quarter" idx="15"/>
          </p:nvPr>
        </p:nvSpPr>
        <p:spPr/>
        <p:txBody>
          <a:bodyPr/>
          <a:lstStyle/>
          <a:p>
            <a:fld id="{DE050E36-BA33-43C0-AE7D-FD2A806B7DFE}" type="slidenum">
              <a:rPr lang="en-GB" smtClean="0"/>
              <a:pPr/>
              <a:t>9</a:t>
            </a:fld>
            <a:endParaRPr lang="en-GB"/>
          </a:p>
        </p:txBody>
      </p:sp>
      <p:sp>
        <p:nvSpPr>
          <p:cNvPr id="5" name="Text Placeholder 4">
            <a:extLst>
              <a:ext uri="{FF2B5EF4-FFF2-40B4-BE49-F238E27FC236}">
                <a16:creationId xmlns:a16="http://schemas.microsoft.com/office/drawing/2014/main" id="{34CDB640-CC71-4294-9460-7AF70A93F319}"/>
              </a:ext>
            </a:extLst>
          </p:cNvPr>
          <p:cNvSpPr>
            <a:spLocks noGrp="1"/>
          </p:cNvSpPr>
          <p:nvPr>
            <p:ph type="body" sz="quarter" idx="14"/>
          </p:nvPr>
        </p:nvSpPr>
        <p:spPr/>
        <p:txBody>
          <a:bodyPr/>
          <a:lstStyle/>
          <a:p>
            <a:endParaRPr lang="en-US"/>
          </a:p>
        </p:txBody>
      </p:sp>
      <p:sp>
        <p:nvSpPr>
          <p:cNvPr id="6" name="Text Placeholder 5">
            <a:extLst>
              <a:ext uri="{FF2B5EF4-FFF2-40B4-BE49-F238E27FC236}">
                <a16:creationId xmlns:a16="http://schemas.microsoft.com/office/drawing/2014/main" id="{CC1D5B05-9515-4FCC-80D0-CBD4A433E722}"/>
              </a:ext>
            </a:extLst>
          </p:cNvPr>
          <p:cNvSpPr>
            <a:spLocks noGrp="1"/>
          </p:cNvSpPr>
          <p:nvPr>
            <p:ph type="body" sz="quarter" idx="12"/>
          </p:nvPr>
        </p:nvSpPr>
        <p:spPr/>
        <p:txBody>
          <a:bodyPr>
            <a:normAutofit fontScale="70000" lnSpcReduction="20000"/>
          </a:bodyPr>
          <a:lstStyle/>
          <a:p>
            <a:endParaRPr lang="en-US"/>
          </a:p>
        </p:txBody>
      </p:sp>
      <p:sp>
        <p:nvSpPr>
          <p:cNvPr id="7" name="Title 6">
            <a:extLst>
              <a:ext uri="{FF2B5EF4-FFF2-40B4-BE49-F238E27FC236}">
                <a16:creationId xmlns:a16="http://schemas.microsoft.com/office/drawing/2014/main" id="{B7FB3FEA-D82B-4F75-8C87-13B40386264C}"/>
              </a:ext>
            </a:extLst>
          </p:cNvPr>
          <p:cNvSpPr>
            <a:spLocks noGrp="1"/>
          </p:cNvSpPr>
          <p:nvPr>
            <p:ph type="title"/>
          </p:nvPr>
        </p:nvSpPr>
        <p:spPr/>
        <p:txBody>
          <a:bodyPr/>
          <a:lstStyle/>
          <a:p>
            <a:endParaRPr lang="en-US"/>
          </a:p>
        </p:txBody>
      </p:sp>
      <p:pic>
        <p:nvPicPr>
          <p:cNvPr id="9" name="Picture 8">
            <a:extLst>
              <a:ext uri="{FF2B5EF4-FFF2-40B4-BE49-F238E27FC236}">
                <a16:creationId xmlns:a16="http://schemas.microsoft.com/office/drawing/2014/main" id="{52A90961-0F05-4B05-A5D1-5FAC7E3C8AF6}"/>
              </a:ext>
            </a:extLst>
          </p:cNvPr>
          <p:cNvPicPr>
            <a:picLocks noChangeAspect="1"/>
          </p:cNvPicPr>
          <p:nvPr/>
        </p:nvPicPr>
        <p:blipFill>
          <a:blip r:embed="rId3"/>
          <a:stretch>
            <a:fillRect/>
          </a:stretch>
        </p:blipFill>
        <p:spPr>
          <a:xfrm>
            <a:off x="-31262" y="-92546"/>
            <a:ext cx="9211774" cy="5329177"/>
          </a:xfrm>
          <a:prstGeom prst="rect">
            <a:avLst/>
          </a:prstGeom>
        </p:spPr>
      </p:pic>
      <p:sp>
        <p:nvSpPr>
          <p:cNvPr id="10" name="Text Placeholder 4">
            <a:extLst>
              <a:ext uri="{FF2B5EF4-FFF2-40B4-BE49-F238E27FC236}">
                <a16:creationId xmlns:a16="http://schemas.microsoft.com/office/drawing/2014/main" id="{3855DB9F-9281-40E3-B6F3-A960A5FD017D}"/>
              </a:ext>
            </a:extLst>
          </p:cNvPr>
          <p:cNvSpPr txBox="1">
            <a:spLocks/>
          </p:cNvSpPr>
          <p:nvPr/>
        </p:nvSpPr>
        <p:spPr>
          <a:xfrm>
            <a:off x="412327" y="4892260"/>
            <a:ext cx="6172552" cy="216693"/>
          </a:xfrm>
          <a:prstGeom prst="rect">
            <a:avLst/>
          </a:prstGeom>
        </p:spPr>
        <p:txBody>
          <a:bodyPr vert="horz" lIns="91440" tIns="36000" rIns="91440" bIns="0" rtlCol="0" anchor="t" anchorCtr="0">
            <a:normAutofit/>
          </a:bodyPr>
          <a:lstStyle>
            <a:lvl1pPr marL="0" indent="0" algn="l" defTabSz="914400" rtl="0" eaLnBrk="1" latinLnBrk="0" hangingPunct="1">
              <a:spcBef>
                <a:spcPct val="20000"/>
              </a:spcBef>
              <a:buClr>
                <a:schemeClr val="accent2"/>
              </a:buClr>
              <a:buFontTx/>
              <a:buNone/>
              <a:defRPr sz="1000" kern="1200">
                <a:solidFill>
                  <a:schemeClr val="bg1">
                    <a:lumMod val="65000"/>
                  </a:schemeClr>
                </a:solidFill>
                <a:latin typeface="+mn-lt"/>
                <a:ea typeface="+mn-ea"/>
                <a:cs typeface="+mn-cs"/>
              </a:defRPr>
            </a:lvl1pPr>
            <a:lvl2pPr marL="533400" indent="-266700" algn="l" defTabSz="914400" rtl="0" eaLnBrk="1" latinLnBrk="0" hangingPunct="1">
              <a:spcBef>
                <a:spcPts val="570"/>
              </a:spcBef>
              <a:buClr>
                <a:schemeClr val="accent2"/>
              </a:buClr>
              <a:buFont typeface="Arial" pitchFamily="34" charset="0"/>
              <a:buChar char="-"/>
              <a:tabLst/>
              <a:defRPr sz="2000" b="0" kern="1200">
                <a:solidFill>
                  <a:schemeClr val="tx1"/>
                </a:solidFill>
                <a:latin typeface="+mn-lt"/>
                <a:ea typeface="+mn-ea"/>
                <a:cs typeface="+mn-cs"/>
              </a:defRPr>
            </a:lvl2pPr>
            <a:lvl3pPr marL="812800" indent="-279400" algn="l" defTabSz="812800" rtl="0" eaLnBrk="1" latinLnBrk="0" hangingPunct="1">
              <a:spcBef>
                <a:spcPts val="570"/>
              </a:spcBef>
              <a:buClr>
                <a:schemeClr val="accent2"/>
              </a:buClr>
              <a:buFont typeface="Arial" pitchFamily="34" charset="0"/>
              <a:buChar char="•"/>
              <a:defRPr sz="1800" kern="1200">
                <a:solidFill>
                  <a:schemeClr val="tx1"/>
                </a:solidFill>
                <a:latin typeface="+mn-lt"/>
                <a:ea typeface="+mn-ea"/>
                <a:cs typeface="+mn-cs"/>
              </a:defRPr>
            </a:lvl3pPr>
            <a:lvl4pPr marL="1079500" indent="-266700" algn="l" defTabSz="914400" rtl="0" eaLnBrk="1" latinLnBrk="0" hangingPunct="1">
              <a:spcBef>
                <a:spcPts val="570"/>
              </a:spcBef>
              <a:buClr>
                <a:schemeClr val="accent2"/>
              </a:buClr>
              <a:buFont typeface="Arial" pitchFamily="34" charset="0"/>
              <a:buChar char="-"/>
              <a:defRPr sz="1600" kern="1200">
                <a:solidFill>
                  <a:schemeClr val="tx1"/>
                </a:solidFill>
                <a:latin typeface="+mn-lt"/>
                <a:ea typeface="+mn-ea"/>
                <a:cs typeface="+mn-cs"/>
              </a:defRPr>
            </a:lvl4pPr>
            <a:lvl5pPr marL="1346200" indent="-266700" algn="l" defTabSz="1346200" rtl="0" eaLnBrk="1" latinLnBrk="0" hangingPunct="1">
              <a:spcBef>
                <a:spcPts val="570"/>
              </a:spcBef>
              <a:buClr>
                <a:schemeClr val="accent2"/>
              </a:buClr>
              <a:buFont typeface="Wingdings" pitchFamily="2" charset="2"/>
              <a:buChar char="§"/>
              <a:tabLst/>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nb-NO" sz="700" i="1" dirty="0">
                <a:solidFill>
                  <a:srgbClr val="FFFFFF"/>
                </a:solidFill>
              </a:rPr>
              <a:t>Source: WWF, </a:t>
            </a:r>
            <a:r>
              <a:rPr lang="nb-NO" sz="700" i="1" dirty="0" err="1">
                <a:solidFill>
                  <a:srgbClr val="FFFFFF"/>
                </a:solidFill>
              </a:rPr>
              <a:t>Sustainalytics</a:t>
            </a:r>
            <a:endParaRPr lang="en-US" sz="700" i="1" dirty="0">
              <a:solidFill>
                <a:srgbClr val="FFFFFF"/>
              </a:solidFill>
            </a:endParaRPr>
          </a:p>
        </p:txBody>
      </p:sp>
      <p:pic>
        <p:nvPicPr>
          <p:cNvPr id="8" name="Graphic 7">
            <a:extLst>
              <a:ext uri="{FF2B5EF4-FFF2-40B4-BE49-F238E27FC236}">
                <a16:creationId xmlns:a16="http://schemas.microsoft.com/office/drawing/2014/main" id="{0630525F-8657-4388-BDA0-B6BC439537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19872" y="195486"/>
            <a:ext cx="1800000" cy="1905882"/>
          </a:xfrm>
          <a:prstGeom prst="rect">
            <a:avLst/>
          </a:prstGeom>
        </p:spPr>
      </p:pic>
      <p:pic>
        <p:nvPicPr>
          <p:cNvPr id="13" name="Graphic 12">
            <a:extLst>
              <a:ext uri="{FF2B5EF4-FFF2-40B4-BE49-F238E27FC236}">
                <a16:creationId xmlns:a16="http://schemas.microsoft.com/office/drawing/2014/main" id="{C7D52FCF-2DB3-424A-B7C4-9A17F07B8C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308504" y="1300592"/>
            <a:ext cx="1800000" cy="1905882"/>
          </a:xfrm>
          <a:prstGeom prst="rect">
            <a:avLst/>
          </a:prstGeom>
        </p:spPr>
      </p:pic>
      <p:pic>
        <p:nvPicPr>
          <p:cNvPr id="14" name="Graphic 13">
            <a:extLst>
              <a:ext uri="{FF2B5EF4-FFF2-40B4-BE49-F238E27FC236}">
                <a16:creationId xmlns:a16="http://schemas.microsoft.com/office/drawing/2014/main" id="{9E2E219C-A774-448D-A461-4AF745F4BE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364088" y="699542"/>
            <a:ext cx="1800000" cy="1905882"/>
          </a:xfrm>
          <a:prstGeom prst="rect">
            <a:avLst/>
          </a:prstGeom>
        </p:spPr>
      </p:pic>
    </p:spTree>
    <p:extLst>
      <p:ext uri="{BB962C8B-B14F-4D97-AF65-F5344CB8AC3E}">
        <p14:creationId xmlns:p14="http://schemas.microsoft.com/office/powerpoint/2010/main" val="2647075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randombar(horizontal)">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randombar(horizontal)">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randombar(horizontal)">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template Markets">
  <a:themeElements>
    <a:clrScheme name="Main_PP">
      <a:dk1>
        <a:srgbClr val="333333"/>
      </a:dk1>
      <a:lt1>
        <a:srgbClr val="333333"/>
      </a:lt1>
      <a:dk2>
        <a:srgbClr val="333333"/>
      </a:dk2>
      <a:lt2>
        <a:srgbClr val="333333"/>
      </a:lt2>
      <a:accent1>
        <a:srgbClr val="C9C9C9"/>
      </a:accent1>
      <a:accent2>
        <a:srgbClr val="007272"/>
      </a:accent2>
      <a:accent3>
        <a:srgbClr val="77278A"/>
      </a:accent3>
      <a:accent4>
        <a:srgbClr val="49B1DE"/>
      </a:accent4>
      <a:accent5>
        <a:srgbClr val="E76A0B"/>
      </a:accent5>
      <a:accent6>
        <a:srgbClr val="9F1117"/>
      </a:accent6>
      <a:hlink>
        <a:srgbClr val="0000FF"/>
      </a:hlink>
      <a:folHlink>
        <a:srgbClr val="800080"/>
      </a:folHlink>
    </a:clrScheme>
    <a:fontScheme name="DNB_MAIN6">
      <a:majorFont>
        <a:latin typeface="Arial"/>
        <a:ea typeface=""/>
        <a:cs typeface=""/>
      </a:majorFont>
      <a:minorFont>
        <a:latin typeface="Arial"/>
        <a:ea typeface=""/>
        <a:cs typeface=""/>
      </a:minorFont>
    </a:fontScheme>
    <a:fmtScheme name="DNB_MAIN6">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marL="0" indent="0" algn="ctr">
          <a:buClr>
            <a:schemeClr val="accent2"/>
          </a:buClr>
          <a:buFont typeface="Wingdings" pitchFamily="2" charset="2"/>
          <a:buNone/>
          <a:defRPr sz="2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0" indent="0">
          <a:buClr>
            <a:schemeClr val="accent2"/>
          </a:buClr>
          <a:buFont typeface="Wingdings" pitchFamily="2" charset="2"/>
          <a:buNone/>
          <a:defRPr sz="2400" dirty="0" smtClean="0"/>
        </a:defPPr>
      </a:lstStyle>
    </a:txDef>
  </a:objectDefaults>
  <a:extraClrSchemeLst/>
</a:theme>
</file>

<file path=ppt/theme/theme2.xml><?xml version="1.0" encoding="utf-8"?>
<a:theme xmlns:a="http://schemas.openxmlformats.org/drawingml/2006/main" name="1_Presentation template Markets">
  <a:themeElements>
    <a:clrScheme name="Main_PP">
      <a:dk1>
        <a:srgbClr val="333333"/>
      </a:dk1>
      <a:lt1>
        <a:srgbClr val="333333"/>
      </a:lt1>
      <a:dk2>
        <a:srgbClr val="333333"/>
      </a:dk2>
      <a:lt2>
        <a:srgbClr val="333333"/>
      </a:lt2>
      <a:accent1>
        <a:srgbClr val="C9C9C9"/>
      </a:accent1>
      <a:accent2>
        <a:srgbClr val="007272"/>
      </a:accent2>
      <a:accent3>
        <a:srgbClr val="77278A"/>
      </a:accent3>
      <a:accent4>
        <a:srgbClr val="49B1DE"/>
      </a:accent4>
      <a:accent5>
        <a:srgbClr val="E76A0B"/>
      </a:accent5>
      <a:accent6>
        <a:srgbClr val="9F1117"/>
      </a:accent6>
      <a:hlink>
        <a:srgbClr val="0000FF"/>
      </a:hlink>
      <a:folHlink>
        <a:srgbClr val="800080"/>
      </a:folHlink>
    </a:clrScheme>
    <a:fontScheme name="DNB_MAIN6">
      <a:majorFont>
        <a:latin typeface="Arial"/>
        <a:ea typeface=""/>
        <a:cs typeface=""/>
      </a:majorFont>
      <a:minorFont>
        <a:latin typeface="Arial"/>
        <a:ea typeface=""/>
        <a:cs typeface=""/>
      </a:minorFont>
    </a:fontScheme>
    <a:fmtScheme name="DNB_MAIN6">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marL="0" indent="0" algn="ctr">
          <a:buClr>
            <a:schemeClr val="accent2"/>
          </a:buClr>
          <a:buFont typeface="Wingdings" pitchFamily="2" charset="2"/>
          <a:buNone/>
          <a:defRPr sz="240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0" indent="0">
          <a:buClr>
            <a:schemeClr val="accent2"/>
          </a:buClr>
          <a:buFont typeface="Wingdings" pitchFamily="2" charset="2"/>
          <a:buNone/>
          <a:defRPr sz="2400"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F491C8D74DEA4CA23DBD2A909F2A2F" ma:contentTypeVersion="15" ma:contentTypeDescription="Create a new document." ma:contentTypeScope="" ma:versionID="916260f98f3adfe6fbfa69e51e898ebc">
  <xsd:schema xmlns:xsd="http://www.w3.org/2001/XMLSchema" xmlns:xs="http://www.w3.org/2001/XMLSchema" xmlns:p="http://schemas.microsoft.com/office/2006/metadata/properties" xmlns:ns1="http://schemas.microsoft.com/sharepoint/v3" xmlns:ns3="87d61ea0-60b7-4ef2-a176-f7b91150917b" xmlns:ns4="19278107-914b-48f7-8a26-e1ca232f59f2" targetNamespace="http://schemas.microsoft.com/office/2006/metadata/properties" ma:root="true" ma:fieldsID="37010f6fa63ad619845e0fb6b11a1de5" ns1:_="" ns3:_="" ns4:_="">
    <xsd:import namespace="http://schemas.microsoft.com/sharepoint/v3"/>
    <xsd:import namespace="87d61ea0-60b7-4ef2-a176-f7b91150917b"/>
    <xsd:import namespace="19278107-914b-48f7-8a26-e1ca232f59f2"/>
    <xsd:element name="properties">
      <xsd:complexType>
        <xsd:sequence>
          <xsd:element name="documentManagement">
            <xsd:complexType>
              <xsd:all>
                <xsd:element ref="ns1:_ip_UnifiedCompliancePolicyProperties" minOccurs="0"/>
                <xsd:element ref="ns1:_ip_UnifiedCompliancePolicyUIAction"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8" nillable="true" ma:displayName="Unified Compliance Policy Properties" ma:hidden="true" ma:internalName="_ip_UnifiedCompliancePolicyProperties">
      <xsd:simpleType>
        <xsd:restriction base="dms:Note"/>
      </xsd:simpleType>
    </xsd:element>
    <xsd:element name="_ip_UnifiedCompliancePolicyUIAction" ma:index="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d61ea0-60b7-4ef2-a176-f7b91150917b"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9278107-914b-48f7-8a26-e1ca232f59f2"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SharingHintHash" ma:index="2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E308F38-43A9-49D6-A696-B97775B505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7d61ea0-60b7-4ef2-a176-f7b91150917b"/>
    <ds:schemaRef ds:uri="19278107-914b-48f7-8a26-e1ca232f59f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2FA08A2-6223-413F-A1C1-AAB5F3F6F43D}">
  <ds:schemaRefs>
    <ds:schemaRef ds:uri="http://schemas.microsoft.com/sharepoint/v3/contenttype/forms"/>
  </ds:schemaRefs>
</ds:datastoreItem>
</file>

<file path=customXml/itemProps3.xml><?xml version="1.0" encoding="utf-8"?>
<ds:datastoreItem xmlns:ds="http://schemas.openxmlformats.org/officeDocument/2006/customXml" ds:itemID="{4396775D-EF89-4115-A919-60240622DEC3}">
  <ds:schemaRefs>
    <ds:schemaRef ds:uri="http://purl.org/dc/dcmitype/"/>
    <ds:schemaRef ds:uri="http://schemas.microsoft.com/office/2006/metadata/properties"/>
    <ds:schemaRef ds:uri="http://schemas.microsoft.com/sharepoint/v3"/>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19278107-914b-48f7-8a26-e1ca232f59f2"/>
    <ds:schemaRef ds:uri="87d61ea0-60b7-4ef2-a176-f7b91150917b"/>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Presentation template Markets</Template>
  <TotalTime>0</TotalTime>
  <Words>846</Words>
  <Application>Microsoft Office PowerPoint</Application>
  <PresentationFormat>On-screen Show (16:9)</PresentationFormat>
  <Paragraphs>199</Paragraphs>
  <Slides>25</Slides>
  <Notes>25</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3" baseType="lpstr">
      <vt:lpstr>Arial</vt:lpstr>
      <vt:lpstr>Calibri</vt:lpstr>
      <vt:lpstr>Segoe UI</vt:lpstr>
      <vt:lpstr>Segoe UI Historic</vt:lpstr>
      <vt:lpstr>Wingdings</vt:lpstr>
      <vt:lpstr>Presentation template Markets</vt:lpstr>
      <vt:lpstr>1_Presentation template Markets</vt:lpstr>
      <vt:lpstr>think-cell Slide</vt:lpstr>
      <vt:lpstr>PowerPoint Presentation</vt:lpstr>
      <vt:lpstr>PowerPoint Presentation</vt:lpstr>
      <vt:lpstr>Agenda</vt:lpstr>
      <vt:lpstr>Direct link sustainability &amp; profitability in salmon farming</vt:lpstr>
      <vt:lpstr>PowerPoint Presentation</vt:lpstr>
      <vt:lpstr>The sustainability cost until now has been related to the marine environment Carbon the next big cost item?</vt:lpstr>
      <vt:lpstr>PowerPoint Presentation</vt:lpstr>
      <vt:lpstr>No food system change = no Net Zero!</vt:lpstr>
      <vt:lpstr>PowerPoint Presentation</vt:lpstr>
      <vt:lpstr>«Energy Transition» vs «Food Transition»</vt:lpstr>
      <vt:lpstr>DNSH! </vt:lpstr>
      <vt:lpstr>Traditional sustainability focus: local</vt:lpstr>
      <vt:lpstr>What society expects from companies</vt:lpstr>
      <vt:lpstr>Agenda</vt:lpstr>
      <vt:lpstr>Why do banks care about ESG?</vt:lpstr>
      <vt:lpstr>Green &amp; sustainability linked financing</vt:lpstr>
      <vt:lpstr>PowerPoint Presentation</vt:lpstr>
      <vt:lpstr>PowerPoint Presentation</vt:lpstr>
      <vt:lpstr>Strong climate gas commitments Science Based Targets</vt:lpstr>
      <vt:lpstr>KPIs in salmon farming STL financing Common to use 3-5 KPIs in a STL loan</vt:lpstr>
      <vt:lpstr>What’s in it for me? Financing cost doesn’t decline on average just because we boil the planet</vt:lpstr>
      <vt:lpstr>From cost of capital to access to capital</vt:lpstr>
      <vt:lpstr>PowerPoint Presentation</vt:lpstr>
      <vt:lpstr>PowerPoint Presentation</vt:lpstr>
      <vt:lpstr>DNB Bank is a global seafood play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keywords>PowerPoint; Presentation</cp:keywords>
  <cp:lastModifiedBy/>
  <cp:revision>1</cp:revision>
  <dcterms:created xsi:type="dcterms:W3CDTF">2016-10-10T14:15:47Z</dcterms:created>
  <dcterms:modified xsi:type="dcterms:W3CDTF">2023-06-13T14:50: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F491C8D74DEA4CA23DBD2A909F2A2F</vt:lpwstr>
  </property>
  <property fmtid="{D5CDD505-2E9C-101B-9397-08002B2CF9AE}" pid="3" name="TaxKeyword">
    <vt:lpwstr>38;#PowerPoint|a08fa901-bb91-4836-a545-e89290d20764;#176;#Presentation|80a87b20-3df2-429b-9a27-17b173852697</vt:lpwstr>
  </property>
  <property fmtid="{D5CDD505-2E9C-101B-9397-08002B2CF9AE}" pid="4" name="DNBInformationCategory">
    <vt:lpwstr>72;#Presentation template|adda77e9-5398-4605-b778-6dafc3ebb702</vt:lpwstr>
  </property>
  <property fmtid="{D5CDD505-2E9C-101B-9397-08002B2CF9AE}" pid="5" name="DNBDecisionContact">
    <vt:lpwstr/>
  </property>
  <property fmtid="{D5CDD505-2E9C-101B-9397-08002B2CF9AE}" pid="6" name="DNBPresence">
    <vt:lpwstr/>
  </property>
  <property fmtid="{D5CDD505-2E9C-101B-9397-08002B2CF9AE}" pid="7" name="df39df623210424f878a19f758c655e7">
    <vt:lpwstr>English|f3c73af4-0dde-42e5-821c-6f5fc15f6e4d</vt:lpwstr>
  </property>
  <property fmtid="{D5CDD505-2E9C-101B-9397-08002B2CF9AE}" pid="8" name="Process owner">
    <vt:lpwstr/>
  </property>
  <property fmtid="{D5CDD505-2E9C-101B-9397-08002B2CF9AE}" pid="9" name="ibad3b8cc82d4c568bd6afdc58634507">
    <vt:lpwstr/>
  </property>
  <property fmtid="{D5CDD505-2E9C-101B-9397-08002B2CF9AE}" pid="10" name="Template information category">
    <vt:lpwstr>72;#Presentation template|adda77e9-5398-4605-b778-6dafc3ebb702</vt:lpwstr>
  </property>
  <property fmtid="{D5CDD505-2E9C-101B-9397-08002B2CF9AE}" pid="11" name="Organisation">
    <vt:lpwstr>109;#Markets|47cca6f4-f319-4785-9bc7-a53b90422275</vt:lpwstr>
  </property>
  <property fmtid="{D5CDD505-2E9C-101B-9397-08002B2CF9AE}" pid="12" name="Product">
    <vt:lpwstr/>
  </property>
  <property fmtid="{D5CDD505-2E9C-101B-9397-08002B2CF9AE}" pid="13" name="Description1">
    <vt:lpwstr>Presentation template Markets</vt:lpwstr>
  </property>
  <property fmtid="{D5CDD505-2E9C-101B-9397-08002B2CF9AE}" pid="14" name="Template Language">
    <vt:lpwstr>56;#English|f3c73af4-0dde-42e5-821c-6f5fc15f6e4d</vt:lpwstr>
  </property>
  <property fmtid="{D5CDD505-2E9C-101B-9397-08002B2CF9AE}" pid="15" name="k47e42c1cc9f496a9c449d4c16521efd">
    <vt:lpwstr>Presentation template|adda77e9-5398-4605-b778-6dafc3ebb702</vt:lpwstr>
  </property>
  <property fmtid="{D5CDD505-2E9C-101B-9397-08002B2CF9AE}" pid="16" name="l1c23990984f4959aae077871aff2b74">
    <vt:lpwstr>Markets|47cca6f4-f319-4785-9bc7-a53b90422275</vt:lpwstr>
  </property>
  <property fmtid="{D5CDD505-2E9C-101B-9397-08002B2CF9AE}" pid="17" name="Template owner">
    <vt:lpwstr>1755;#Stubberud, Tone Grøstad</vt:lpwstr>
  </property>
  <property fmtid="{D5CDD505-2E9C-101B-9397-08002B2CF9AE}" pid="18" name="c20fc4ebea844fd1b13ad3b7eae29bbd">
    <vt:lpwstr>Supporting processes|66173b15-83c2-4ff9-9c10-0e266a099f06</vt:lpwstr>
  </property>
  <property fmtid="{D5CDD505-2E9C-101B-9397-08002B2CF9AE}" pid="19" name="a25609bfcaa64f2b98eb28131f9b9043">
    <vt:lpwstr/>
  </property>
  <property fmtid="{D5CDD505-2E9C-101B-9397-08002B2CF9AE}" pid="20" name="Process">
    <vt:lpwstr>60;#Supporting processes|66173b15-83c2-4ff9-9c10-0e266a099f06</vt:lpwstr>
  </property>
  <property fmtid="{D5CDD505-2E9C-101B-9397-08002B2CF9AE}" pid="21" name="In use by process">
    <vt:lpwstr/>
  </property>
  <property fmtid="{D5CDD505-2E9C-101B-9397-08002B2CF9AE}" pid="22" name="In_x0020_use_x0020_by_x0020_process">
    <vt:lpwstr/>
  </property>
  <property fmtid="{D5CDD505-2E9C-101B-9397-08002B2CF9AE}" pid="23" name="_dlc_DocIdItemGuid">
    <vt:lpwstr>6c9a12f5-d812-4235-8071-a2540bea130a</vt:lpwstr>
  </property>
  <property fmtid="{D5CDD505-2E9C-101B-9397-08002B2CF9AE}" pid="24" name="MSIP_Label_b41c0bc7-c6be-49cd-a7d8-05e4908a7b56_Enabled">
    <vt:lpwstr>true</vt:lpwstr>
  </property>
  <property fmtid="{D5CDD505-2E9C-101B-9397-08002B2CF9AE}" pid="25" name="MSIP_Label_b41c0bc7-c6be-49cd-a7d8-05e4908a7b56_SetDate">
    <vt:lpwstr>2020-08-04T10:17:46Z</vt:lpwstr>
  </property>
  <property fmtid="{D5CDD505-2E9C-101B-9397-08002B2CF9AE}" pid="26" name="MSIP_Label_b41c0bc7-c6be-49cd-a7d8-05e4908a7b56_Method">
    <vt:lpwstr>Privileged</vt:lpwstr>
  </property>
  <property fmtid="{D5CDD505-2E9C-101B-9397-08002B2CF9AE}" pid="27" name="MSIP_Label_b41c0bc7-c6be-49cd-a7d8-05e4908a7b56_Name">
    <vt:lpwstr>Internal</vt:lpwstr>
  </property>
  <property fmtid="{D5CDD505-2E9C-101B-9397-08002B2CF9AE}" pid="28" name="MSIP_Label_b41c0bc7-c6be-49cd-a7d8-05e4908a7b56_SiteId">
    <vt:lpwstr>4cbfea0a-b872-47f0-b51c-1c64953c3f0b</vt:lpwstr>
  </property>
  <property fmtid="{D5CDD505-2E9C-101B-9397-08002B2CF9AE}" pid="29" name="MSIP_Label_b41c0bc7-c6be-49cd-a7d8-05e4908a7b56_ActionId">
    <vt:lpwstr>0a52cd53-5bb0-4e8a-b40e-f66b40f230f2</vt:lpwstr>
  </property>
  <property fmtid="{D5CDD505-2E9C-101B-9397-08002B2CF9AE}" pid="30" name="MSIP_Label_b41c0bc7-c6be-49cd-a7d8-05e4908a7b56_ContentBits">
    <vt:lpwstr>0</vt:lpwstr>
  </property>
</Properties>
</file>